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4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5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6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7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11" r:id="rId4"/>
  </p:sldMasterIdLst>
  <p:notesMasterIdLst>
    <p:notesMasterId r:id="rId24"/>
  </p:notesMasterIdLst>
  <p:handoutMasterIdLst>
    <p:handoutMasterId r:id="rId25"/>
  </p:handoutMasterIdLst>
  <p:sldIdLst>
    <p:sldId id="707" r:id="rId5"/>
    <p:sldId id="708" r:id="rId6"/>
    <p:sldId id="712" r:id="rId7"/>
    <p:sldId id="709" r:id="rId8"/>
    <p:sldId id="710" r:id="rId9"/>
    <p:sldId id="711" r:id="rId10"/>
    <p:sldId id="714" r:id="rId11"/>
    <p:sldId id="715" r:id="rId12"/>
    <p:sldId id="488" r:id="rId13"/>
    <p:sldId id="669" r:id="rId14"/>
    <p:sldId id="716" r:id="rId15"/>
    <p:sldId id="718" r:id="rId16"/>
    <p:sldId id="479" r:id="rId17"/>
    <p:sldId id="705" r:id="rId18"/>
    <p:sldId id="675" r:id="rId19"/>
    <p:sldId id="676" r:id="rId20"/>
    <p:sldId id="640" r:id="rId21"/>
    <p:sldId id="704" r:id="rId22"/>
    <p:sldId id="699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1C872EC-DF97-4006-A274-43B4FE0C91F4}">
          <p14:sldIdLst>
            <p14:sldId id="707"/>
            <p14:sldId id="708"/>
            <p14:sldId id="712"/>
            <p14:sldId id="709"/>
            <p14:sldId id="710"/>
            <p14:sldId id="711"/>
            <p14:sldId id="714"/>
            <p14:sldId id="715"/>
            <p14:sldId id="488"/>
            <p14:sldId id="669"/>
            <p14:sldId id="716"/>
            <p14:sldId id="718"/>
            <p14:sldId id="479"/>
          </p14:sldIdLst>
        </p14:section>
        <p14:section name="User Guides" id="{038BFB80-8F75-4F63-A097-C14D435D7337}">
          <p14:sldIdLst>
            <p14:sldId id="705"/>
            <p14:sldId id="675"/>
            <p14:sldId id="676"/>
            <p14:sldId id="640"/>
            <p14:sldId id="704"/>
            <p14:sldId id="69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ew Bailey" initials="AB" lastIdx="2" clrIdx="0">
    <p:extLst>
      <p:ext uri="{19B8F6BF-5375-455C-9EA6-DF929625EA0E}">
        <p15:presenceInfo xmlns:p15="http://schemas.microsoft.com/office/powerpoint/2012/main" userId="Andrew Baile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6C8"/>
    <a:srgbClr val="798399"/>
    <a:srgbClr val="BD2A2E"/>
    <a:srgbClr val="00AECF"/>
    <a:srgbClr val="073262"/>
    <a:srgbClr val="10548C"/>
    <a:srgbClr val="FF555F"/>
    <a:srgbClr val="FFFFFF"/>
    <a:srgbClr val="595959"/>
    <a:srgbClr val="4C49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CB202B-E0B0-119C-7288-ECF513116B3C}" v="1119" dt="2024-08-28T09:05:06.562"/>
    <p1510:client id="{60B8E3A3-4139-4EBC-D903-96AD3DA4322A}" v="88" dt="2024-08-28T08:01:25.429"/>
    <p1510:client id="{9D698B89-A120-DC4C-193C-E80B7E86EFA2}" v="340" dt="2024-08-27T12:31:10.655"/>
    <p1510:client id="{A809852B-DB55-283E-20B8-20494867367C}" v="11" dt="2024-08-28T12:42:45.495"/>
    <p1510:client id="{D31E1DB7-171F-0B5E-D17C-C0AD475EB64E}" v="675" dt="2024-08-27T12:15:44.783"/>
    <p1510:client id="{FD84FAA9-3A41-DFED-7822-7B040DE1AB90}" v="532" dt="2024-08-28T07:15:21.77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AED1D4-0C97-41AD-86FB-6388789F2A2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FCFF5D-0936-4188-901C-A6A1D37C363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AECBF1-C2AE-41BB-8D7A-4351047AC329}" type="datetimeFigureOut">
              <a:rPr lang="en-US"/>
              <a:t>8/2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6EBDBD-22EE-45B0-B4B5-64B099CA924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354CBD-03AA-4438-AEC9-2184FF96C5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B055AC-4DA3-474A-B815-4FBDE987A1DD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5256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3A4B2-9324-4589-B14C-236B127BAAA0}" type="datetimeFigureOut">
              <a:rPr lang="en-US"/>
              <a:t>8/2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C9F161-07A6-48A8-844D-651C99E29A47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5820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C9F161-07A6-48A8-844D-651C99E29A47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086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C9F161-07A6-48A8-844D-651C99E29A47}" type="slidenum">
              <a:rPr lang="en-US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1567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C9F161-07A6-48A8-844D-651C99E29A47}" type="slidenum">
              <a:rPr lang="en-US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4771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C9F161-07A6-48A8-844D-651C99E29A4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80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C9F161-07A6-48A8-844D-651C99E29A47}" type="slidenum">
              <a:rPr lang="en-US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2667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C9F161-07A6-48A8-844D-651C99E29A47}" type="slidenum">
              <a:rPr lang="en-US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7477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C9F161-07A6-48A8-844D-651C99E29A47}" type="slidenum">
              <a:rPr lang="en-US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1990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C9F161-07A6-48A8-844D-651C99E29A47}" type="slidenum">
              <a:rPr lang="en-US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058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8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4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4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4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4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4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4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4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0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4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4.sv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4.svg"/><Relationship Id="rId7" Type="http://schemas.openxmlformats.org/officeDocument/2006/relationships/image" Target="../media/image1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8.svg"/><Relationship Id="rId4" Type="http://schemas.openxmlformats.org/officeDocument/2006/relationships/image" Target="../media/image3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4.sv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3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4.sv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4.sv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4.png"/><Relationship Id="rId4" Type="http://schemas.openxmlformats.org/officeDocument/2006/relationships/image" Target="../media/image4.sv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4.svg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2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3.png"/><Relationship Id="rId7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4.svg"/><Relationship Id="rId9" Type="http://schemas.openxmlformats.org/officeDocument/2006/relationships/image" Target="../media/image17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svg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8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18DAEFC-EF40-4589-9F6B-5C1699274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4829D4-90BA-4FD9-8D4C-686E86FB239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800" y="6480000"/>
            <a:ext cx="2396518" cy="123111"/>
          </a:xfrm>
        </p:spPr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2" name="Freeform: Shape 38">
            <a:extLst>
              <a:ext uri="{FF2B5EF4-FFF2-40B4-BE49-F238E27FC236}">
                <a16:creationId xmlns:a16="http://schemas.microsoft.com/office/drawing/2014/main" id="{BF4677C3-BCF5-4855-9611-E85C96D9A70A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2D55CCF4-0B1D-4A3B-AD75-0E7051248497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2725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24">
            <a:extLst>
              <a:ext uri="{FF2B5EF4-FFF2-40B4-BE49-F238E27FC236}">
                <a16:creationId xmlns:a16="http://schemas.microsoft.com/office/drawing/2014/main" id="{5B049D90-7C0C-2543-A4A6-22DE2C411CA6}"/>
              </a:ext>
            </a:extLst>
          </p:cNvPr>
          <p:cNvSpPr/>
          <p:nvPr/>
        </p:nvSpPr>
        <p:spPr>
          <a:xfrm>
            <a:off x="0" y="4900507"/>
            <a:ext cx="4262572" cy="1957493"/>
          </a:xfrm>
          <a:custGeom>
            <a:avLst/>
            <a:gdLst>
              <a:gd name="connsiteX0" fmla="*/ 1462275 w 4262572"/>
              <a:gd name="connsiteY0" fmla="*/ 0 h 1957493"/>
              <a:gd name="connsiteX1" fmla="*/ 4262572 w 4262572"/>
              <a:gd name="connsiteY1" fmla="*/ 1957493 h 1957493"/>
              <a:gd name="connsiteX2" fmla="*/ 0 w 4262572"/>
              <a:gd name="connsiteY2" fmla="*/ 1957493 h 1957493"/>
              <a:gd name="connsiteX3" fmla="*/ 0 w 4262572"/>
              <a:gd name="connsiteY3" fmla="*/ 1021999 h 195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62572" h="1957493">
                <a:moveTo>
                  <a:pt x="1462275" y="0"/>
                </a:moveTo>
                <a:lnTo>
                  <a:pt x="4262572" y="1957493"/>
                </a:lnTo>
                <a:lnTo>
                  <a:pt x="0" y="1957493"/>
                </a:lnTo>
                <a:lnTo>
                  <a:pt x="0" y="1021999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29773AE-3026-4994-9E24-119377549C30}"/>
              </a:ext>
            </a:extLst>
          </p:cNvPr>
          <p:cNvSpPr/>
          <p:nvPr/>
        </p:nvSpPr>
        <p:spPr>
          <a:xfrm>
            <a:off x="1739901" y="5448182"/>
            <a:ext cx="4065894" cy="1412994"/>
          </a:xfrm>
          <a:custGeom>
            <a:avLst/>
            <a:gdLst>
              <a:gd name="connsiteX0" fmla="*/ 0 w 4467225"/>
              <a:gd name="connsiteY0" fmla="*/ 1533525 h 1562100"/>
              <a:gd name="connsiteX1" fmla="*/ 2228850 w 4467225"/>
              <a:gd name="connsiteY1" fmla="*/ 0 h 1562100"/>
              <a:gd name="connsiteX2" fmla="*/ 4467225 w 4467225"/>
              <a:gd name="connsiteY2" fmla="*/ 1562100 h 1562100"/>
              <a:gd name="connsiteX3" fmla="*/ 0 w 4467225"/>
              <a:gd name="connsiteY3" fmla="*/ 1533525 h 1562100"/>
              <a:gd name="connsiteX0" fmla="*/ 0 w 4505325"/>
              <a:gd name="connsiteY0" fmla="*/ 1552575 h 1562100"/>
              <a:gd name="connsiteX1" fmla="*/ 2266950 w 4505325"/>
              <a:gd name="connsiteY1" fmla="*/ 0 h 1562100"/>
              <a:gd name="connsiteX2" fmla="*/ 4505325 w 4505325"/>
              <a:gd name="connsiteY2" fmla="*/ 1562100 h 1562100"/>
              <a:gd name="connsiteX3" fmla="*/ 0 w 4505325"/>
              <a:gd name="connsiteY3" fmla="*/ 1552575 h 1562100"/>
              <a:gd name="connsiteX0" fmla="*/ 0 w 4514850"/>
              <a:gd name="connsiteY0" fmla="*/ 1562100 h 1562100"/>
              <a:gd name="connsiteX1" fmla="*/ 2276475 w 4514850"/>
              <a:gd name="connsiteY1" fmla="*/ 0 h 1562100"/>
              <a:gd name="connsiteX2" fmla="*/ 4514850 w 4514850"/>
              <a:gd name="connsiteY2" fmla="*/ 1562100 h 1562100"/>
              <a:gd name="connsiteX3" fmla="*/ 0 w 4514850"/>
              <a:gd name="connsiteY3" fmla="*/ 1562100 h 1562100"/>
              <a:gd name="connsiteX0" fmla="*/ 0 w 4514850"/>
              <a:gd name="connsiteY0" fmla="*/ 1410144 h 1410144"/>
              <a:gd name="connsiteX1" fmla="*/ 2265873 w 4514850"/>
              <a:gd name="connsiteY1" fmla="*/ 0 h 1410144"/>
              <a:gd name="connsiteX2" fmla="*/ 4514850 w 4514850"/>
              <a:gd name="connsiteY2" fmla="*/ 1410144 h 1410144"/>
              <a:gd name="connsiteX3" fmla="*/ 0 w 4514850"/>
              <a:gd name="connsiteY3" fmla="*/ 1410144 h 1410144"/>
              <a:gd name="connsiteX0" fmla="*/ 0 w 4514850"/>
              <a:gd name="connsiteY0" fmla="*/ 1569168 h 1569168"/>
              <a:gd name="connsiteX1" fmla="*/ 2265873 w 4514850"/>
              <a:gd name="connsiteY1" fmla="*/ 0 h 1569168"/>
              <a:gd name="connsiteX2" fmla="*/ 4514850 w 4514850"/>
              <a:gd name="connsiteY2" fmla="*/ 1569168 h 1569168"/>
              <a:gd name="connsiteX3" fmla="*/ 0 w 4514850"/>
              <a:gd name="connsiteY3" fmla="*/ 1569168 h 1569168"/>
              <a:gd name="connsiteX0" fmla="*/ 0 w 4525452"/>
              <a:gd name="connsiteY0" fmla="*/ 1569168 h 1572702"/>
              <a:gd name="connsiteX1" fmla="*/ 2265873 w 4525452"/>
              <a:gd name="connsiteY1" fmla="*/ 0 h 1572702"/>
              <a:gd name="connsiteX2" fmla="*/ 4525452 w 4525452"/>
              <a:gd name="connsiteY2" fmla="*/ 1572702 h 1572702"/>
              <a:gd name="connsiteX3" fmla="*/ 0 w 4525452"/>
              <a:gd name="connsiteY3" fmla="*/ 1569168 h 1572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5452" h="1572702">
                <a:moveTo>
                  <a:pt x="0" y="1569168"/>
                </a:moveTo>
                <a:lnTo>
                  <a:pt x="2265873" y="0"/>
                </a:lnTo>
                <a:lnTo>
                  <a:pt x="4525452" y="1572702"/>
                </a:lnTo>
                <a:lnTo>
                  <a:pt x="0" y="1569168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998EB54-0F58-441A-8144-116153536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257" y="3702319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BE0095B5-53D4-9C4C-8876-BE836797DEE0}"/>
              </a:ext>
            </a:extLst>
          </p:cNvPr>
          <p:cNvSpPr/>
          <p:nvPr/>
        </p:nvSpPr>
        <p:spPr>
          <a:xfrm rot="10800000">
            <a:off x="9083364" y="0"/>
            <a:ext cx="3108635" cy="1425182"/>
          </a:xfrm>
          <a:custGeom>
            <a:avLst/>
            <a:gdLst>
              <a:gd name="connsiteX0" fmla="*/ 3108635 w 3108635"/>
              <a:gd name="connsiteY0" fmla="*/ 1425182 h 1425182"/>
              <a:gd name="connsiteX1" fmla="*/ 0 w 3108635"/>
              <a:gd name="connsiteY1" fmla="*/ 1425182 h 1425182"/>
              <a:gd name="connsiteX2" fmla="*/ 0 w 3108635"/>
              <a:gd name="connsiteY2" fmla="*/ 730957 h 1425182"/>
              <a:gd name="connsiteX3" fmla="*/ 1084862 w 3108635"/>
              <a:gd name="connsiteY3" fmla="*/ 0 h 142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8635" h="1425182">
                <a:moveTo>
                  <a:pt x="3108635" y="1425182"/>
                </a:moveTo>
                <a:lnTo>
                  <a:pt x="0" y="1425182"/>
                </a:lnTo>
                <a:lnTo>
                  <a:pt x="0" y="730957"/>
                </a:lnTo>
                <a:lnTo>
                  <a:pt x="1084862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5DEA3EB-7023-3642-83F2-FD716952AC57}"/>
              </a:ext>
            </a:extLst>
          </p:cNvPr>
          <p:cNvSpPr/>
          <p:nvPr/>
        </p:nvSpPr>
        <p:spPr>
          <a:xfrm rot="10800000">
            <a:off x="7899082" y="-1"/>
            <a:ext cx="2943008" cy="1021432"/>
          </a:xfrm>
          <a:custGeom>
            <a:avLst/>
            <a:gdLst>
              <a:gd name="connsiteX0" fmla="*/ 2943008 w 2943008"/>
              <a:gd name="connsiteY0" fmla="*/ 1021432 h 1021432"/>
              <a:gd name="connsiteX1" fmla="*/ 0 w 2943008"/>
              <a:gd name="connsiteY1" fmla="*/ 1021432 h 1021432"/>
              <a:gd name="connsiteX2" fmla="*/ 1473230 w 2943008"/>
              <a:gd name="connsiteY2" fmla="*/ 0 h 102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43008" h="1021432">
                <a:moveTo>
                  <a:pt x="2943008" y="1021432"/>
                </a:moveTo>
                <a:lnTo>
                  <a:pt x="0" y="1021432"/>
                </a:lnTo>
                <a:lnTo>
                  <a:pt x="1473230" y="0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26A78AB9-EAF7-7746-895A-843233C622E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612FCD5A-D75B-4B19-A0CD-3722DB639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5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58EE7C1-72A7-49D2-9408-6D8A3E8979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2 Copyright Genpact. All Rights Reserved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8E6F93-A670-4F14-B015-78190A57D00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5046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0CC2C6EF-776C-43CF-B77C-3AD42BC255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4143" y="3702319"/>
            <a:ext cx="6843600" cy="381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Description goes he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noProof="0"/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507FF555-C362-BC4D-A8EA-21A034747FD9}"/>
              </a:ext>
            </a:extLst>
          </p:cNvPr>
          <p:cNvSpPr/>
          <p:nvPr/>
        </p:nvSpPr>
        <p:spPr>
          <a:xfrm rot="18300963" flipH="1">
            <a:off x="8503132" y="-1165064"/>
            <a:ext cx="495116" cy="4554815"/>
          </a:xfrm>
          <a:custGeom>
            <a:avLst/>
            <a:gdLst>
              <a:gd name="connsiteX0" fmla="*/ 484981 w 495116"/>
              <a:gd name="connsiteY0" fmla="*/ 0 h 4554815"/>
              <a:gd name="connsiteX1" fmla="*/ 43362 w 495116"/>
              <a:gd name="connsiteY1" fmla="*/ 630320 h 4554815"/>
              <a:gd name="connsiteX2" fmla="*/ 0 w 495116"/>
              <a:gd name="connsiteY2" fmla="*/ 4554815 h 4554815"/>
              <a:gd name="connsiteX3" fmla="*/ 484123 w 495116"/>
              <a:gd name="connsiteY3" fmla="*/ 4385194 h 4554815"/>
              <a:gd name="connsiteX4" fmla="*/ 495116 w 495116"/>
              <a:gd name="connsiteY4" fmla="*/ 3771414 h 4554815"/>
              <a:gd name="connsiteX5" fmla="*/ 466021 w 495116"/>
              <a:gd name="connsiteY5" fmla="*/ 3782827 h 4554815"/>
              <a:gd name="connsiteX6" fmla="*/ 482994 w 495116"/>
              <a:gd name="connsiteY6" fmla="*/ 370448 h 4554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116" h="4554815">
                <a:moveTo>
                  <a:pt x="484981" y="0"/>
                </a:moveTo>
                <a:lnTo>
                  <a:pt x="43362" y="630320"/>
                </a:lnTo>
                <a:lnTo>
                  <a:pt x="0" y="4554815"/>
                </a:lnTo>
                <a:lnTo>
                  <a:pt x="484123" y="4385194"/>
                </a:lnTo>
                <a:lnTo>
                  <a:pt x="495116" y="3771414"/>
                </a:lnTo>
                <a:lnTo>
                  <a:pt x="466021" y="3782827"/>
                </a:lnTo>
                <a:cubicBezTo>
                  <a:pt x="466280" y="2865719"/>
                  <a:pt x="476637" y="1476643"/>
                  <a:pt x="482994" y="370448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BA5EF075-83E7-774F-B885-37C07770ABA8}"/>
              </a:ext>
            </a:extLst>
          </p:cNvPr>
          <p:cNvSpPr/>
          <p:nvPr/>
        </p:nvSpPr>
        <p:spPr>
          <a:xfrm rot="18300963" flipH="1">
            <a:off x="4607641" y="3724836"/>
            <a:ext cx="1098431" cy="4553250"/>
          </a:xfrm>
          <a:custGeom>
            <a:avLst/>
            <a:gdLst>
              <a:gd name="connsiteX0" fmla="*/ 7678 w 1098431"/>
              <a:gd name="connsiteY0" fmla="*/ 354047 h 4553250"/>
              <a:gd name="connsiteX1" fmla="*/ 0 w 1098431"/>
              <a:gd name="connsiteY1" fmla="*/ 4553250 h 4553250"/>
              <a:gd name="connsiteX2" fmla="*/ 1098431 w 1098431"/>
              <a:gd name="connsiteY2" fmla="*/ 2985463 h 4553250"/>
              <a:gd name="connsiteX3" fmla="*/ 1098431 w 1098431"/>
              <a:gd name="connsiteY3" fmla="*/ 0 h 4553250"/>
              <a:gd name="connsiteX4" fmla="*/ 7678 w 1098431"/>
              <a:gd name="connsiteY4" fmla="*/ 354047 h 455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431" h="4553250">
                <a:moveTo>
                  <a:pt x="7678" y="354047"/>
                </a:moveTo>
                <a:lnTo>
                  <a:pt x="0" y="4553250"/>
                </a:lnTo>
                <a:lnTo>
                  <a:pt x="1098431" y="2985463"/>
                </a:lnTo>
                <a:lnTo>
                  <a:pt x="1098431" y="0"/>
                </a:lnTo>
                <a:cubicBezTo>
                  <a:pt x="734631" y="127326"/>
                  <a:pt x="371478" y="226721"/>
                  <a:pt x="7678" y="35404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0FDB5CF5-44C1-1D4A-A2B9-37C0F30F6278}"/>
              </a:ext>
            </a:extLst>
          </p:cNvPr>
          <p:cNvSpPr/>
          <p:nvPr/>
        </p:nvSpPr>
        <p:spPr>
          <a:xfrm rot="18300963" flipH="1">
            <a:off x="4473394" y="5471677"/>
            <a:ext cx="227425" cy="1880095"/>
          </a:xfrm>
          <a:custGeom>
            <a:avLst/>
            <a:gdLst>
              <a:gd name="connsiteX0" fmla="*/ 0 w 227425"/>
              <a:gd name="connsiteY0" fmla="*/ 96845 h 1880095"/>
              <a:gd name="connsiteX1" fmla="*/ 0 w 227425"/>
              <a:gd name="connsiteY1" fmla="*/ 1880095 h 1880095"/>
              <a:gd name="connsiteX2" fmla="*/ 224453 w 227425"/>
              <a:gd name="connsiteY2" fmla="*/ 1559734 h 1880095"/>
              <a:gd name="connsiteX3" fmla="*/ 225257 w 227425"/>
              <a:gd name="connsiteY3" fmla="*/ 1214869 h 1880095"/>
              <a:gd name="connsiteX4" fmla="*/ 227425 w 227425"/>
              <a:gd name="connsiteY4" fmla="*/ 0 h 1880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425" h="1880095">
                <a:moveTo>
                  <a:pt x="0" y="96845"/>
                </a:moveTo>
                <a:lnTo>
                  <a:pt x="0" y="1880095"/>
                </a:lnTo>
                <a:lnTo>
                  <a:pt x="224453" y="1559734"/>
                </a:lnTo>
                <a:lnTo>
                  <a:pt x="225257" y="1214869"/>
                </a:lnTo>
                <a:cubicBezTo>
                  <a:pt x="225980" y="809913"/>
                  <a:pt x="226237" y="390570"/>
                  <a:pt x="22742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4D8B62A9-4796-7441-BB51-FE9050BD3210}"/>
              </a:ext>
            </a:extLst>
          </p:cNvPr>
          <p:cNvSpPr/>
          <p:nvPr/>
        </p:nvSpPr>
        <p:spPr>
          <a:xfrm rot="18300963" flipH="1">
            <a:off x="6797834" y="-1592612"/>
            <a:ext cx="1110167" cy="5340305"/>
          </a:xfrm>
          <a:custGeom>
            <a:avLst/>
            <a:gdLst>
              <a:gd name="connsiteX0" fmla="*/ 1110167 w 1110167"/>
              <a:gd name="connsiteY0" fmla="*/ 0 h 5340305"/>
              <a:gd name="connsiteX1" fmla="*/ 18977 w 1110167"/>
              <a:gd name="connsiteY1" fmla="*/ 1557452 h 5340305"/>
              <a:gd name="connsiteX2" fmla="*/ 18186 w 1110167"/>
              <a:gd name="connsiteY2" fmla="*/ 1710683 h 5340305"/>
              <a:gd name="connsiteX3" fmla="*/ 0 w 1110167"/>
              <a:gd name="connsiteY3" fmla="*/ 5340305 h 5340305"/>
              <a:gd name="connsiteX4" fmla="*/ 1096070 w 1110167"/>
              <a:gd name="connsiteY4" fmla="*/ 4910334 h 5340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0167" h="5340305">
                <a:moveTo>
                  <a:pt x="1110167" y="0"/>
                </a:moveTo>
                <a:lnTo>
                  <a:pt x="18977" y="1557452"/>
                </a:lnTo>
                <a:lnTo>
                  <a:pt x="18186" y="1710683"/>
                </a:lnTo>
                <a:cubicBezTo>
                  <a:pt x="12041" y="2846813"/>
                  <a:pt x="276" y="4362057"/>
                  <a:pt x="0" y="5340305"/>
                </a:cubicBezTo>
                <a:lnTo>
                  <a:pt x="1096070" y="4910334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E2CC5BE5-129B-7847-BDB4-75DA3D4EA79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970D0B5-60C7-43B7-9391-F41A7E9C2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 noProof="0"/>
              <a:t>Slide divider option-6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AB6562-E57C-4D04-BCF6-D759D38486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2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704303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B91F8A20-C584-48B2-B8D0-5A7792E52E41}"/>
              </a:ext>
            </a:extLst>
          </p:cNvPr>
          <p:cNvSpPr/>
          <p:nvPr userDrawn="1"/>
        </p:nvSpPr>
        <p:spPr>
          <a:xfrm flipV="1">
            <a:off x="6766830" y="1"/>
            <a:ext cx="5425171" cy="3771437"/>
          </a:xfrm>
          <a:custGeom>
            <a:avLst/>
            <a:gdLst>
              <a:gd name="connsiteX0" fmla="*/ 0 w 5425171"/>
              <a:gd name="connsiteY0" fmla="*/ 3771437 h 3771437"/>
              <a:gd name="connsiteX1" fmla="*/ 5425171 w 5425171"/>
              <a:gd name="connsiteY1" fmla="*/ 3771437 h 3771437"/>
              <a:gd name="connsiteX2" fmla="*/ 5425171 w 5425171"/>
              <a:gd name="connsiteY2" fmla="*/ 0 h 3771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25171" h="3771437">
                <a:moveTo>
                  <a:pt x="0" y="3771437"/>
                </a:moveTo>
                <a:lnTo>
                  <a:pt x="5425171" y="3771437"/>
                </a:lnTo>
                <a:lnTo>
                  <a:pt x="5425171" y="0"/>
                </a:lnTo>
                <a:close/>
              </a:path>
            </a:pathLst>
          </a:custGeom>
          <a:solidFill>
            <a:schemeClr val="accent1"/>
          </a:solidFill>
          <a:ln w="15691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C369F7-26ED-4748-B416-400F4315F894}"/>
              </a:ext>
            </a:extLst>
          </p:cNvPr>
          <p:cNvSpPr/>
          <p:nvPr userDrawn="1"/>
        </p:nvSpPr>
        <p:spPr>
          <a:xfrm rot="18300963" flipH="1">
            <a:off x="7568200" y="-802590"/>
            <a:ext cx="418585" cy="2961934"/>
          </a:xfrm>
          <a:custGeom>
            <a:avLst/>
            <a:gdLst>
              <a:gd name="connsiteX0" fmla="*/ 418585 w 418585"/>
              <a:gd name="connsiteY0" fmla="*/ 0 h 2961934"/>
              <a:gd name="connsiteX1" fmla="*/ 0 w 418585"/>
              <a:gd name="connsiteY1" fmla="*/ 597446 h 2961934"/>
              <a:gd name="connsiteX2" fmla="*/ 0 w 418585"/>
              <a:gd name="connsiteY2" fmla="*/ 2961934 h 2961934"/>
              <a:gd name="connsiteX3" fmla="*/ 418585 w 418585"/>
              <a:gd name="connsiteY3" fmla="*/ 2808101 h 296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585" h="2961934">
                <a:moveTo>
                  <a:pt x="418585" y="0"/>
                </a:moveTo>
                <a:lnTo>
                  <a:pt x="0" y="597446"/>
                </a:lnTo>
                <a:lnTo>
                  <a:pt x="0" y="2961934"/>
                </a:lnTo>
                <a:lnTo>
                  <a:pt x="418585" y="2808101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586800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447675" algn="l"/>
              </a:tabLst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73F4034-F802-8147-9CE9-2FDF5990DA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68000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4C88BC3-87FF-4DEA-A390-196F279DE9AD}"/>
              </a:ext>
            </a:extLst>
          </p:cNvPr>
          <p:cNvGrpSpPr/>
          <p:nvPr userDrawn="1"/>
        </p:nvGrpSpPr>
        <p:grpSpPr>
          <a:xfrm>
            <a:off x="5715188" y="0"/>
            <a:ext cx="6476813" cy="4013359"/>
            <a:chOff x="5715188" y="0"/>
            <a:chExt cx="6476813" cy="4013359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CE5EE67-8B21-4F87-8DFB-90B271741602}"/>
                </a:ext>
              </a:extLst>
            </p:cNvPr>
            <p:cNvSpPr/>
            <p:nvPr/>
          </p:nvSpPr>
          <p:spPr>
            <a:xfrm>
              <a:off x="12010873" y="2481044"/>
              <a:ext cx="181127" cy="594412"/>
            </a:xfrm>
            <a:custGeom>
              <a:avLst/>
              <a:gdLst>
                <a:gd name="connsiteX0" fmla="*/ 0 w 181127"/>
                <a:gd name="connsiteY0" fmla="*/ 0 h 594412"/>
                <a:gd name="connsiteX1" fmla="*/ 167647 w 181127"/>
                <a:gd name="connsiteY1" fmla="*/ 116845 h 594412"/>
                <a:gd name="connsiteX2" fmla="*/ 167647 w 181127"/>
                <a:gd name="connsiteY2" fmla="*/ 351169 h 594412"/>
                <a:gd name="connsiteX3" fmla="*/ 181127 w 181127"/>
                <a:gd name="connsiteY3" fmla="*/ 360544 h 594412"/>
                <a:gd name="connsiteX4" fmla="*/ 181127 w 181127"/>
                <a:gd name="connsiteY4" fmla="*/ 594412 h 594412"/>
                <a:gd name="connsiteX5" fmla="*/ 0 w 181127"/>
                <a:gd name="connsiteY5" fmla="*/ 468649 h 59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127" h="594412">
                  <a:moveTo>
                    <a:pt x="0" y="0"/>
                  </a:moveTo>
                  <a:lnTo>
                    <a:pt x="167647" y="116845"/>
                  </a:lnTo>
                  <a:lnTo>
                    <a:pt x="167647" y="351169"/>
                  </a:lnTo>
                  <a:lnTo>
                    <a:pt x="181127" y="360544"/>
                  </a:lnTo>
                  <a:lnTo>
                    <a:pt x="181127" y="594412"/>
                  </a:lnTo>
                  <a:lnTo>
                    <a:pt x="0" y="46864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3080386-6680-4E93-BCAF-5CB175921301}"/>
                </a:ext>
              </a:extLst>
            </p:cNvPr>
            <p:cNvSpPr/>
            <p:nvPr/>
          </p:nvSpPr>
          <p:spPr>
            <a:xfrm>
              <a:off x="6565492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DDE16F9-C07D-4FEE-A6FA-A182F541F37F}"/>
                </a:ext>
              </a:extLst>
            </p:cNvPr>
            <p:cNvSpPr/>
            <p:nvPr userDrawn="1"/>
          </p:nvSpPr>
          <p:spPr>
            <a:xfrm>
              <a:off x="7246244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ED9A046-D24A-4E78-8501-42C19EA55EBA}"/>
                </a:ext>
              </a:extLst>
            </p:cNvPr>
            <p:cNvSpPr/>
            <p:nvPr userDrawn="1"/>
          </p:nvSpPr>
          <p:spPr>
            <a:xfrm>
              <a:off x="7926996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E60FD82-2BBC-408C-B3E9-46545477070B}"/>
                </a:ext>
              </a:extLst>
            </p:cNvPr>
            <p:cNvSpPr/>
            <p:nvPr/>
          </p:nvSpPr>
          <p:spPr>
            <a:xfrm>
              <a:off x="8607748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151714C-A962-44D7-8717-DBB0CAD4FB3C}"/>
                </a:ext>
              </a:extLst>
            </p:cNvPr>
            <p:cNvSpPr/>
            <p:nvPr/>
          </p:nvSpPr>
          <p:spPr>
            <a:xfrm>
              <a:off x="9288499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3221CAB-ED2A-48D3-9F40-870064BDA5BB}"/>
                </a:ext>
              </a:extLst>
            </p:cNvPr>
            <p:cNvSpPr/>
            <p:nvPr/>
          </p:nvSpPr>
          <p:spPr>
            <a:xfrm>
              <a:off x="9968617" y="1"/>
              <a:ext cx="337201" cy="344819"/>
            </a:xfrm>
            <a:custGeom>
              <a:avLst/>
              <a:gdLst>
                <a:gd name="connsiteX0" fmla="*/ 0 w 337201"/>
                <a:gd name="connsiteY0" fmla="*/ 0 h 344819"/>
                <a:gd name="connsiteX1" fmla="*/ 177413 w 337201"/>
                <a:gd name="connsiteY1" fmla="*/ 0 h 344819"/>
                <a:gd name="connsiteX2" fmla="*/ 337201 w 337201"/>
                <a:gd name="connsiteY2" fmla="*/ 111130 h 344819"/>
                <a:gd name="connsiteX3" fmla="*/ 337201 w 337201"/>
                <a:gd name="connsiteY3" fmla="*/ 344819 h 344819"/>
                <a:gd name="connsiteX4" fmla="*/ 0 w 337201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19">
                  <a:moveTo>
                    <a:pt x="0" y="0"/>
                  </a:moveTo>
                  <a:lnTo>
                    <a:pt x="177413" y="0"/>
                  </a:lnTo>
                  <a:lnTo>
                    <a:pt x="337201" y="111130"/>
                  </a:lnTo>
                  <a:lnTo>
                    <a:pt x="337201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CE638EA-11C9-4B89-AB99-E00CA5E130BD}"/>
                </a:ext>
              </a:extLst>
            </p:cNvPr>
            <p:cNvSpPr/>
            <p:nvPr/>
          </p:nvSpPr>
          <p:spPr>
            <a:xfrm>
              <a:off x="10649369" y="1"/>
              <a:ext cx="337201" cy="344819"/>
            </a:xfrm>
            <a:custGeom>
              <a:avLst/>
              <a:gdLst>
                <a:gd name="connsiteX0" fmla="*/ 0 w 337201"/>
                <a:gd name="connsiteY0" fmla="*/ 0 h 344819"/>
                <a:gd name="connsiteX1" fmla="*/ 177413 w 337201"/>
                <a:gd name="connsiteY1" fmla="*/ 0 h 344819"/>
                <a:gd name="connsiteX2" fmla="*/ 337201 w 337201"/>
                <a:gd name="connsiteY2" fmla="*/ 111130 h 344819"/>
                <a:gd name="connsiteX3" fmla="*/ 337201 w 337201"/>
                <a:gd name="connsiteY3" fmla="*/ 344819 h 344819"/>
                <a:gd name="connsiteX4" fmla="*/ 0 w 337201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19">
                  <a:moveTo>
                    <a:pt x="0" y="0"/>
                  </a:moveTo>
                  <a:lnTo>
                    <a:pt x="177413" y="0"/>
                  </a:lnTo>
                  <a:lnTo>
                    <a:pt x="337201" y="111130"/>
                  </a:lnTo>
                  <a:lnTo>
                    <a:pt x="337201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6F13C4BA-3024-4FB0-9B6B-47A5B558035A}"/>
                </a:ext>
              </a:extLst>
            </p:cNvPr>
            <p:cNvSpPr/>
            <p:nvPr/>
          </p:nvSpPr>
          <p:spPr>
            <a:xfrm>
              <a:off x="11330120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36FBC37-DF57-46B8-9978-E944E3AA9B6A}"/>
                </a:ext>
              </a:extLst>
            </p:cNvPr>
            <p:cNvSpPr/>
            <p:nvPr/>
          </p:nvSpPr>
          <p:spPr>
            <a:xfrm>
              <a:off x="12010872" y="1"/>
              <a:ext cx="181128" cy="236893"/>
            </a:xfrm>
            <a:custGeom>
              <a:avLst/>
              <a:gdLst>
                <a:gd name="connsiteX0" fmla="*/ 0 w 181128"/>
                <a:gd name="connsiteY0" fmla="*/ 0 h 236893"/>
                <a:gd name="connsiteX1" fmla="*/ 176777 w 181128"/>
                <a:gd name="connsiteY1" fmla="*/ 0 h 236893"/>
                <a:gd name="connsiteX2" fmla="*/ 181128 w 181128"/>
                <a:gd name="connsiteY2" fmla="*/ 3026 h 236893"/>
                <a:gd name="connsiteX3" fmla="*/ 181128 w 181128"/>
                <a:gd name="connsiteY3" fmla="*/ 236893 h 236893"/>
                <a:gd name="connsiteX4" fmla="*/ 0 w 181128"/>
                <a:gd name="connsiteY4" fmla="*/ 111130 h 236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128" h="236893">
                  <a:moveTo>
                    <a:pt x="0" y="0"/>
                  </a:moveTo>
                  <a:lnTo>
                    <a:pt x="176777" y="0"/>
                  </a:lnTo>
                  <a:lnTo>
                    <a:pt x="181128" y="3026"/>
                  </a:lnTo>
                  <a:lnTo>
                    <a:pt x="181128" y="236893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C764A050-800F-4349-8A14-A6F0F97184CD}"/>
                </a:ext>
              </a:extLst>
            </p:cNvPr>
            <p:cNvSpPr/>
            <p:nvPr/>
          </p:nvSpPr>
          <p:spPr>
            <a:xfrm>
              <a:off x="12010873" y="1061762"/>
              <a:ext cx="181127" cy="594412"/>
            </a:xfrm>
            <a:custGeom>
              <a:avLst/>
              <a:gdLst>
                <a:gd name="connsiteX0" fmla="*/ 0 w 181127"/>
                <a:gd name="connsiteY0" fmla="*/ 0 h 594412"/>
                <a:gd name="connsiteX1" fmla="*/ 167647 w 181127"/>
                <a:gd name="connsiteY1" fmla="*/ 116845 h 594412"/>
                <a:gd name="connsiteX2" fmla="*/ 167647 w 181127"/>
                <a:gd name="connsiteY2" fmla="*/ 351169 h 594412"/>
                <a:gd name="connsiteX3" fmla="*/ 181127 w 181127"/>
                <a:gd name="connsiteY3" fmla="*/ 360544 h 594412"/>
                <a:gd name="connsiteX4" fmla="*/ 181127 w 181127"/>
                <a:gd name="connsiteY4" fmla="*/ 594412 h 594412"/>
                <a:gd name="connsiteX5" fmla="*/ 0 w 181127"/>
                <a:gd name="connsiteY5" fmla="*/ 468649 h 59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127" h="594412">
                  <a:moveTo>
                    <a:pt x="0" y="0"/>
                  </a:moveTo>
                  <a:lnTo>
                    <a:pt x="167647" y="116845"/>
                  </a:lnTo>
                  <a:lnTo>
                    <a:pt x="167647" y="351169"/>
                  </a:lnTo>
                  <a:lnTo>
                    <a:pt x="181127" y="360544"/>
                  </a:lnTo>
                  <a:lnTo>
                    <a:pt x="181127" y="594412"/>
                  </a:lnTo>
                  <a:lnTo>
                    <a:pt x="0" y="46864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46F198D-5084-48A9-8C84-7DB2CEC8A4EC}"/>
                </a:ext>
              </a:extLst>
            </p:cNvPr>
            <p:cNvSpPr/>
            <p:nvPr/>
          </p:nvSpPr>
          <p:spPr>
            <a:xfrm>
              <a:off x="11841955" y="1771720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D89682F6-96A5-41BF-82A7-8041CD27DFCA}"/>
                </a:ext>
              </a:extLst>
            </p:cNvPr>
            <p:cNvSpPr/>
            <p:nvPr/>
          </p:nvSpPr>
          <p:spPr>
            <a:xfrm>
              <a:off x="11671767" y="1533586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324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0C05325F-FB04-4D3F-81DA-A8A1958800B0}"/>
                </a:ext>
              </a:extLst>
            </p:cNvPr>
            <p:cNvSpPr/>
            <p:nvPr/>
          </p:nvSpPr>
          <p:spPr>
            <a:xfrm>
              <a:off x="11670497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EAF07ED-FD46-4A60-A12C-6191D530088B}"/>
                </a:ext>
              </a:extLst>
            </p:cNvPr>
            <p:cNvSpPr/>
            <p:nvPr/>
          </p:nvSpPr>
          <p:spPr>
            <a:xfrm>
              <a:off x="6225117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647D2024-98F1-4BD4-B343-DAD63E339990}"/>
                </a:ext>
              </a:extLst>
            </p:cNvPr>
            <p:cNvSpPr/>
            <p:nvPr/>
          </p:nvSpPr>
          <p:spPr>
            <a:xfrm>
              <a:off x="6905869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E4F5D25-29A7-44F3-8A09-0B85AB758663}"/>
                </a:ext>
              </a:extLst>
            </p:cNvPr>
            <p:cNvSpPr/>
            <p:nvPr/>
          </p:nvSpPr>
          <p:spPr>
            <a:xfrm>
              <a:off x="7586621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AE80838-AA85-408D-A5A3-57703C8D7194}"/>
                </a:ext>
              </a:extLst>
            </p:cNvPr>
            <p:cNvSpPr/>
            <p:nvPr/>
          </p:nvSpPr>
          <p:spPr>
            <a:xfrm>
              <a:off x="8267372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D0A565E-C13F-4E69-81C4-EF204B972380}"/>
                </a:ext>
              </a:extLst>
            </p:cNvPr>
            <p:cNvSpPr/>
            <p:nvPr/>
          </p:nvSpPr>
          <p:spPr>
            <a:xfrm>
              <a:off x="8948124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9F79212-CAEE-4FFE-B3AB-0F52E40D66A7}"/>
                </a:ext>
              </a:extLst>
            </p:cNvPr>
            <p:cNvSpPr/>
            <p:nvPr/>
          </p:nvSpPr>
          <p:spPr>
            <a:xfrm>
              <a:off x="9628876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00B462F9-1955-491B-A597-8C3AB0118874}"/>
                </a:ext>
              </a:extLst>
            </p:cNvPr>
            <p:cNvSpPr/>
            <p:nvPr/>
          </p:nvSpPr>
          <p:spPr>
            <a:xfrm>
              <a:off x="10308993" y="352439"/>
              <a:ext cx="337201" cy="702338"/>
            </a:xfrm>
            <a:custGeom>
              <a:avLst/>
              <a:gdLst>
                <a:gd name="connsiteX0" fmla="*/ 168283 w 337201"/>
                <a:gd name="connsiteY0" fmla="*/ 116210 h 702338"/>
                <a:gd name="connsiteX1" fmla="*/ 168283 w 337201"/>
                <a:gd name="connsiteY1" fmla="*/ 351169 h 702338"/>
                <a:gd name="connsiteX2" fmla="*/ 337201 w 337201"/>
                <a:gd name="connsiteY2" fmla="*/ 468649 h 702338"/>
                <a:gd name="connsiteX3" fmla="*/ 337201 w 337201"/>
                <a:gd name="connsiteY3" fmla="*/ 702338 h 702338"/>
                <a:gd name="connsiteX4" fmla="*/ 0 w 337201"/>
                <a:gd name="connsiteY4" fmla="*/ 468014 h 702338"/>
                <a:gd name="connsiteX5" fmla="*/ 0 w 337201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D846CD6-9740-4A70-9C92-C1EF15D475DB}"/>
                </a:ext>
              </a:extLst>
            </p:cNvPr>
            <p:cNvSpPr/>
            <p:nvPr/>
          </p:nvSpPr>
          <p:spPr>
            <a:xfrm>
              <a:off x="10989745" y="352439"/>
              <a:ext cx="337200" cy="702338"/>
            </a:xfrm>
            <a:custGeom>
              <a:avLst/>
              <a:gdLst>
                <a:gd name="connsiteX0" fmla="*/ 168283 w 337200"/>
                <a:gd name="connsiteY0" fmla="*/ 116210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014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1E6B00F-6E1D-4F08-A671-8F4ED750732A}"/>
                </a:ext>
              </a:extLst>
            </p:cNvPr>
            <p:cNvSpPr/>
            <p:nvPr/>
          </p:nvSpPr>
          <p:spPr>
            <a:xfrm>
              <a:off x="11670497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A6F2F23-1DBB-414D-88DC-583BB6E462CF}"/>
                </a:ext>
              </a:extLst>
            </p:cNvPr>
            <p:cNvSpPr/>
            <p:nvPr/>
          </p:nvSpPr>
          <p:spPr>
            <a:xfrm>
              <a:off x="11330121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4309412-4EAB-4705-8A4C-685D6C093D86}"/>
                </a:ext>
              </a:extLst>
            </p:cNvPr>
            <p:cNvSpPr/>
            <p:nvPr/>
          </p:nvSpPr>
          <p:spPr>
            <a:xfrm>
              <a:off x="11330121" y="2481044"/>
              <a:ext cx="336565" cy="702337"/>
            </a:xfrm>
            <a:custGeom>
              <a:avLst/>
              <a:gdLst>
                <a:gd name="connsiteX0" fmla="*/ 336566 w 336565"/>
                <a:gd name="connsiteY0" fmla="*/ 468649 h 702337"/>
                <a:gd name="connsiteX1" fmla="*/ 336566 w 336565"/>
                <a:gd name="connsiteY1" fmla="*/ 702338 h 702337"/>
                <a:gd name="connsiteX2" fmla="*/ 0 w 336565"/>
                <a:gd name="connsiteY2" fmla="*/ 468649 h 702337"/>
                <a:gd name="connsiteX3" fmla="*/ 0 w 336565"/>
                <a:gd name="connsiteY3" fmla="*/ 0 h 702337"/>
                <a:gd name="connsiteX4" fmla="*/ 167648 w 336565"/>
                <a:gd name="connsiteY4" fmla="*/ 116845 h 702337"/>
                <a:gd name="connsiteX5" fmla="*/ 167648 w 336565"/>
                <a:gd name="connsiteY5" fmla="*/ 351169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336566" y="468649"/>
                  </a:move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7648" y="116845"/>
                  </a:lnTo>
                  <a:lnTo>
                    <a:pt x="167648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9C0B2DBC-C430-4A19-B026-9FA6F7202E01}"/>
                </a:ext>
              </a:extLst>
            </p:cNvPr>
            <p:cNvSpPr/>
            <p:nvPr/>
          </p:nvSpPr>
          <p:spPr>
            <a:xfrm>
              <a:off x="11670497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83167BB9-46CD-4709-911A-D1C7A6754A91}"/>
                </a:ext>
              </a:extLst>
            </p:cNvPr>
            <p:cNvSpPr/>
            <p:nvPr/>
          </p:nvSpPr>
          <p:spPr>
            <a:xfrm>
              <a:off x="11330121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D647D22-9C60-44B8-9D3F-BBE643FADD9F}"/>
                </a:ext>
              </a:extLst>
            </p:cNvPr>
            <p:cNvSpPr/>
            <p:nvPr/>
          </p:nvSpPr>
          <p:spPr>
            <a:xfrm>
              <a:off x="5884741" y="588668"/>
              <a:ext cx="164472" cy="227974"/>
            </a:xfrm>
            <a:custGeom>
              <a:avLst/>
              <a:gdLst>
                <a:gd name="connsiteX0" fmla="*/ 164473 w 164472"/>
                <a:gd name="connsiteY0" fmla="*/ 114305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D8CE189-30C4-4911-B40F-1FC72E907B5B}"/>
                </a:ext>
              </a:extLst>
            </p:cNvPr>
            <p:cNvSpPr/>
            <p:nvPr/>
          </p:nvSpPr>
          <p:spPr>
            <a:xfrm>
              <a:off x="5886011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8471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C4FBE59-F683-4E27-8E31-9228C4F0291C}"/>
                </a:ext>
              </a:extLst>
            </p:cNvPr>
            <p:cNvSpPr/>
            <p:nvPr/>
          </p:nvSpPr>
          <p:spPr>
            <a:xfrm>
              <a:off x="6565493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D519D4CC-4667-4937-AC8A-C1BE2B8F60F3}"/>
                </a:ext>
              </a:extLst>
            </p:cNvPr>
            <p:cNvSpPr/>
            <p:nvPr/>
          </p:nvSpPr>
          <p:spPr>
            <a:xfrm>
              <a:off x="6566763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8471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636842B-DCE3-4F08-85A2-DADA9D687C33}"/>
                </a:ext>
              </a:extLst>
            </p:cNvPr>
            <p:cNvSpPr/>
            <p:nvPr/>
          </p:nvSpPr>
          <p:spPr>
            <a:xfrm>
              <a:off x="7246245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3DA9BF26-63B9-4D35-9BBD-838100622B0D}"/>
                </a:ext>
              </a:extLst>
            </p:cNvPr>
            <p:cNvSpPr/>
            <p:nvPr/>
          </p:nvSpPr>
          <p:spPr>
            <a:xfrm>
              <a:off x="7247515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7836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3E6731B1-220D-481E-88A1-E81C15364115}"/>
                </a:ext>
              </a:extLst>
            </p:cNvPr>
            <p:cNvSpPr/>
            <p:nvPr/>
          </p:nvSpPr>
          <p:spPr>
            <a:xfrm>
              <a:off x="7926997" y="588668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B67BA01E-07D3-4CE3-8B5C-A032BAEA7BFD}"/>
                </a:ext>
              </a:extLst>
            </p:cNvPr>
            <p:cNvSpPr/>
            <p:nvPr/>
          </p:nvSpPr>
          <p:spPr>
            <a:xfrm>
              <a:off x="7928267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1 w 674401"/>
                <a:gd name="connsiteY1" fmla="*/ 233689 h 351169"/>
                <a:gd name="connsiteX2" fmla="*/ 506754 w 674401"/>
                <a:gd name="connsiteY2" fmla="*/ 350534 h 351169"/>
                <a:gd name="connsiteX3" fmla="*/ 337836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1" y="233689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6F9CA08F-42C7-4CFD-9F37-C10337C2F2AE}"/>
                </a:ext>
              </a:extLst>
            </p:cNvPr>
            <p:cNvSpPr/>
            <p:nvPr/>
          </p:nvSpPr>
          <p:spPr>
            <a:xfrm>
              <a:off x="8607749" y="588668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2BE5FE9D-21F9-4C4C-85BB-EEB31817DFC9}"/>
                </a:ext>
              </a:extLst>
            </p:cNvPr>
            <p:cNvSpPr/>
            <p:nvPr/>
          </p:nvSpPr>
          <p:spPr>
            <a:xfrm>
              <a:off x="8609018" y="824262"/>
              <a:ext cx="673766" cy="351169"/>
            </a:xfrm>
            <a:custGeom>
              <a:avLst/>
              <a:gdLst>
                <a:gd name="connsiteX0" fmla="*/ 337201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7201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7201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18E07B5-5A05-46CF-AF1E-74FB011B05C1}"/>
                </a:ext>
              </a:extLst>
            </p:cNvPr>
            <p:cNvSpPr/>
            <p:nvPr/>
          </p:nvSpPr>
          <p:spPr>
            <a:xfrm>
              <a:off x="9288500" y="588668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305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0B77125-FE0A-4BB8-AA32-C0C760E202CF}"/>
                </a:ext>
              </a:extLst>
            </p:cNvPr>
            <p:cNvSpPr/>
            <p:nvPr/>
          </p:nvSpPr>
          <p:spPr>
            <a:xfrm>
              <a:off x="9289770" y="824262"/>
              <a:ext cx="673766" cy="351169"/>
            </a:xfrm>
            <a:custGeom>
              <a:avLst/>
              <a:gdLst>
                <a:gd name="connsiteX0" fmla="*/ 337201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7201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7201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7F10CAC9-5E2F-4D4B-8762-1EE74B2EE4C7}"/>
                </a:ext>
              </a:extLst>
            </p:cNvPr>
            <p:cNvSpPr/>
            <p:nvPr/>
          </p:nvSpPr>
          <p:spPr>
            <a:xfrm>
              <a:off x="9968617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DA3B5C39-F1BB-4A8E-8E22-5D750A638332}"/>
                </a:ext>
              </a:extLst>
            </p:cNvPr>
            <p:cNvSpPr/>
            <p:nvPr/>
          </p:nvSpPr>
          <p:spPr>
            <a:xfrm>
              <a:off x="9970522" y="824262"/>
              <a:ext cx="673766" cy="351169"/>
            </a:xfrm>
            <a:custGeom>
              <a:avLst/>
              <a:gdLst>
                <a:gd name="connsiteX0" fmla="*/ 336566 w 673766"/>
                <a:gd name="connsiteY0" fmla="*/ 0 h 351169"/>
                <a:gd name="connsiteX1" fmla="*/ 673766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6566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6566" y="0"/>
                  </a:moveTo>
                  <a:lnTo>
                    <a:pt x="673766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1C23EC0F-A6E1-40B6-884C-76B1582A16F8}"/>
                </a:ext>
              </a:extLst>
            </p:cNvPr>
            <p:cNvSpPr/>
            <p:nvPr/>
          </p:nvSpPr>
          <p:spPr>
            <a:xfrm>
              <a:off x="10649369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24328EBA-4DDC-4236-B440-BF0A104F46E2}"/>
                </a:ext>
              </a:extLst>
            </p:cNvPr>
            <p:cNvSpPr/>
            <p:nvPr/>
          </p:nvSpPr>
          <p:spPr>
            <a:xfrm>
              <a:off x="10651274" y="824262"/>
              <a:ext cx="673766" cy="351169"/>
            </a:xfrm>
            <a:custGeom>
              <a:avLst/>
              <a:gdLst>
                <a:gd name="connsiteX0" fmla="*/ 336565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6565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6565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5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D90F04C2-DE22-476E-90B0-F39240F8C370}"/>
                </a:ext>
              </a:extLst>
            </p:cNvPr>
            <p:cNvSpPr/>
            <p:nvPr/>
          </p:nvSpPr>
          <p:spPr>
            <a:xfrm>
              <a:off x="11330121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3F901A7-A96D-4225-B56B-097F10BA4198}"/>
                </a:ext>
              </a:extLst>
            </p:cNvPr>
            <p:cNvSpPr/>
            <p:nvPr/>
          </p:nvSpPr>
          <p:spPr>
            <a:xfrm>
              <a:off x="11330121" y="1061762"/>
              <a:ext cx="336565" cy="702338"/>
            </a:xfrm>
            <a:custGeom>
              <a:avLst/>
              <a:gdLst>
                <a:gd name="connsiteX0" fmla="*/ 336566 w 336565"/>
                <a:gd name="connsiteY0" fmla="*/ 468649 h 702338"/>
                <a:gd name="connsiteX1" fmla="*/ 336566 w 336565"/>
                <a:gd name="connsiteY1" fmla="*/ 702338 h 702338"/>
                <a:gd name="connsiteX2" fmla="*/ 0 w 336565"/>
                <a:gd name="connsiteY2" fmla="*/ 468649 h 702338"/>
                <a:gd name="connsiteX3" fmla="*/ 0 w 336565"/>
                <a:gd name="connsiteY3" fmla="*/ 0 h 702338"/>
                <a:gd name="connsiteX4" fmla="*/ 167648 w 336565"/>
                <a:gd name="connsiteY4" fmla="*/ 116845 h 702338"/>
                <a:gd name="connsiteX5" fmla="*/ 167648 w 336565"/>
                <a:gd name="connsiteY5" fmla="*/ 351169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336566" y="468649"/>
                  </a:move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7648" y="116845"/>
                  </a:lnTo>
                  <a:lnTo>
                    <a:pt x="167648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B8C23906-A74F-484F-B5D0-F8D1D70E416B}"/>
                </a:ext>
              </a:extLst>
            </p:cNvPr>
            <p:cNvSpPr/>
            <p:nvPr/>
          </p:nvSpPr>
          <p:spPr>
            <a:xfrm>
              <a:off x="11670497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17012FE-D9A3-40B2-917B-05B21C90D142}"/>
                </a:ext>
              </a:extLst>
            </p:cNvPr>
            <p:cNvSpPr/>
            <p:nvPr/>
          </p:nvSpPr>
          <p:spPr>
            <a:xfrm>
              <a:off x="5884741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AEF34A93-EB7C-48BD-B3A6-4C56EECA01A5}"/>
                </a:ext>
              </a:extLst>
            </p:cNvPr>
            <p:cNvSpPr/>
            <p:nvPr/>
          </p:nvSpPr>
          <p:spPr>
            <a:xfrm>
              <a:off x="6565493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8238E33-6A82-49C9-A952-76FDF8F1FE43}"/>
                </a:ext>
              </a:extLst>
            </p:cNvPr>
            <p:cNvSpPr/>
            <p:nvPr/>
          </p:nvSpPr>
          <p:spPr>
            <a:xfrm>
              <a:off x="7246245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25DF4D9B-EE59-4AD9-B375-3288C1C1B918}"/>
                </a:ext>
              </a:extLst>
            </p:cNvPr>
            <p:cNvSpPr/>
            <p:nvPr/>
          </p:nvSpPr>
          <p:spPr>
            <a:xfrm>
              <a:off x="7926997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FE180511-C746-4C16-A9B7-28A0EB58DCD4}"/>
                </a:ext>
              </a:extLst>
            </p:cNvPr>
            <p:cNvSpPr/>
            <p:nvPr/>
          </p:nvSpPr>
          <p:spPr>
            <a:xfrm>
              <a:off x="8607749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F35AF811-12BC-469A-805D-3D67E3B3FECF}"/>
                </a:ext>
              </a:extLst>
            </p:cNvPr>
            <p:cNvSpPr/>
            <p:nvPr/>
          </p:nvSpPr>
          <p:spPr>
            <a:xfrm>
              <a:off x="9288500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0C82A089-6B43-410E-8EB1-81A84B4636F9}"/>
                </a:ext>
              </a:extLst>
            </p:cNvPr>
            <p:cNvSpPr/>
            <p:nvPr/>
          </p:nvSpPr>
          <p:spPr>
            <a:xfrm>
              <a:off x="9968617" y="1061762"/>
              <a:ext cx="337200" cy="702338"/>
            </a:xfrm>
            <a:custGeom>
              <a:avLst/>
              <a:gdLst>
                <a:gd name="connsiteX0" fmla="*/ 168283 w 337200"/>
                <a:gd name="connsiteY0" fmla="*/ 116845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649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6A892B4-E765-440F-902C-C7B744380C77}"/>
                </a:ext>
              </a:extLst>
            </p:cNvPr>
            <p:cNvSpPr/>
            <p:nvPr/>
          </p:nvSpPr>
          <p:spPr>
            <a:xfrm>
              <a:off x="10649369" y="1061762"/>
              <a:ext cx="337200" cy="702338"/>
            </a:xfrm>
            <a:custGeom>
              <a:avLst/>
              <a:gdLst>
                <a:gd name="connsiteX0" fmla="*/ 168283 w 337200"/>
                <a:gd name="connsiteY0" fmla="*/ 116845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649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8946D8A-C4D0-4B6B-BC13-9085E87B09A1}"/>
                </a:ext>
              </a:extLst>
            </p:cNvPr>
            <p:cNvSpPr/>
            <p:nvPr/>
          </p:nvSpPr>
          <p:spPr>
            <a:xfrm>
              <a:off x="10989745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411E3C16-5FC0-45F0-A5EE-F8279D9465BB}"/>
                </a:ext>
              </a:extLst>
            </p:cNvPr>
            <p:cNvSpPr/>
            <p:nvPr/>
          </p:nvSpPr>
          <p:spPr>
            <a:xfrm>
              <a:off x="10989745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23FB0399-8E5D-4D7E-A112-B96C75021B37}"/>
                </a:ext>
              </a:extLst>
            </p:cNvPr>
            <p:cNvSpPr/>
            <p:nvPr/>
          </p:nvSpPr>
          <p:spPr>
            <a:xfrm>
              <a:off x="6225117" y="1297991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1ECE2692-953B-4AC1-967A-07C2B9325CE9}"/>
                </a:ext>
              </a:extLst>
            </p:cNvPr>
            <p:cNvSpPr/>
            <p:nvPr/>
          </p:nvSpPr>
          <p:spPr>
            <a:xfrm>
              <a:off x="6226387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8471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EF41F3E-1ED1-4531-A78F-92ECADC62005}"/>
                </a:ext>
              </a:extLst>
            </p:cNvPr>
            <p:cNvSpPr/>
            <p:nvPr/>
          </p:nvSpPr>
          <p:spPr>
            <a:xfrm>
              <a:off x="6905869" y="1297991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43E3060-ACF3-4671-8363-605AE0C6E82B}"/>
                </a:ext>
              </a:extLst>
            </p:cNvPr>
            <p:cNvSpPr/>
            <p:nvPr/>
          </p:nvSpPr>
          <p:spPr>
            <a:xfrm>
              <a:off x="6907139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AC77EAC-09BC-4C0A-9631-F8E8A7601F2C}"/>
                </a:ext>
              </a:extLst>
            </p:cNvPr>
            <p:cNvSpPr/>
            <p:nvPr/>
          </p:nvSpPr>
          <p:spPr>
            <a:xfrm>
              <a:off x="7586621" y="1297991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0A9BF34A-5F29-4331-A5A9-368590661D06}"/>
                </a:ext>
              </a:extLst>
            </p:cNvPr>
            <p:cNvSpPr/>
            <p:nvPr/>
          </p:nvSpPr>
          <p:spPr>
            <a:xfrm>
              <a:off x="7587891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E51A0FD3-1C0A-46B4-B0DC-683E6C961442}"/>
                </a:ext>
              </a:extLst>
            </p:cNvPr>
            <p:cNvSpPr/>
            <p:nvPr/>
          </p:nvSpPr>
          <p:spPr>
            <a:xfrm>
              <a:off x="8267372" y="1297991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89A00A66-1ED0-4EE0-9A96-086FA9F03DEB}"/>
                </a:ext>
              </a:extLst>
            </p:cNvPr>
            <p:cNvSpPr/>
            <p:nvPr/>
          </p:nvSpPr>
          <p:spPr>
            <a:xfrm>
              <a:off x="8268643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432786C6-288E-4BEB-959D-0E1427BC8444}"/>
                </a:ext>
              </a:extLst>
            </p:cNvPr>
            <p:cNvSpPr/>
            <p:nvPr/>
          </p:nvSpPr>
          <p:spPr>
            <a:xfrm>
              <a:off x="8948124" y="1297991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D956F3A2-7473-4D7A-81E6-1A7935A3CBCD}"/>
                </a:ext>
              </a:extLst>
            </p:cNvPr>
            <p:cNvSpPr/>
            <p:nvPr/>
          </p:nvSpPr>
          <p:spPr>
            <a:xfrm>
              <a:off x="8949395" y="1533586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5AD55FF9-7A83-49C4-8987-6B407213FD82}"/>
                </a:ext>
              </a:extLst>
            </p:cNvPr>
            <p:cNvSpPr/>
            <p:nvPr/>
          </p:nvSpPr>
          <p:spPr>
            <a:xfrm>
              <a:off x="9628876" y="1297991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CB1CA6EF-C90C-4F5E-83D6-5836FC356AC1}"/>
                </a:ext>
              </a:extLst>
            </p:cNvPr>
            <p:cNvSpPr/>
            <p:nvPr/>
          </p:nvSpPr>
          <p:spPr>
            <a:xfrm>
              <a:off x="9630146" y="1533586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8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8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67569F49-3B0E-4616-8E49-14DDF3711780}"/>
                </a:ext>
              </a:extLst>
            </p:cNvPr>
            <p:cNvSpPr/>
            <p:nvPr/>
          </p:nvSpPr>
          <p:spPr>
            <a:xfrm>
              <a:off x="10308993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ED7F85D0-1DC8-4D42-9601-1DF3EF1B1459}"/>
                </a:ext>
              </a:extLst>
            </p:cNvPr>
            <p:cNvSpPr/>
            <p:nvPr/>
          </p:nvSpPr>
          <p:spPr>
            <a:xfrm>
              <a:off x="10310898" y="1533586"/>
              <a:ext cx="673766" cy="351168"/>
            </a:xfrm>
            <a:custGeom>
              <a:avLst/>
              <a:gdLst>
                <a:gd name="connsiteX0" fmla="*/ 336566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6566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6566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C4B2E9D1-3071-4E57-9223-9A98C4F952D9}"/>
                </a:ext>
              </a:extLst>
            </p:cNvPr>
            <p:cNvSpPr/>
            <p:nvPr/>
          </p:nvSpPr>
          <p:spPr>
            <a:xfrm>
              <a:off x="10989745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7F693C5B-0DF6-4E60-AABF-9C128C0A0F37}"/>
                </a:ext>
              </a:extLst>
            </p:cNvPr>
            <p:cNvSpPr/>
            <p:nvPr/>
          </p:nvSpPr>
          <p:spPr>
            <a:xfrm>
              <a:off x="10649369" y="2007950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25E6A8BA-2AE0-449D-B1E5-F4620FA8F7E8}"/>
                </a:ext>
              </a:extLst>
            </p:cNvPr>
            <p:cNvSpPr/>
            <p:nvPr/>
          </p:nvSpPr>
          <p:spPr>
            <a:xfrm>
              <a:off x="10649369" y="2481044"/>
              <a:ext cx="337200" cy="702337"/>
            </a:xfrm>
            <a:custGeom>
              <a:avLst/>
              <a:gdLst>
                <a:gd name="connsiteX0" fmla="*/ 337201 w 337200"/>
                <a:gd name="connsiteY0" fmla="*/ 468649 h 702337"/>
                <a:gd name="connsiteX1" fmla="*/ 337201 w 337200"/>
                <a:gd name="connsiteY1" fmla="*/ 702338 h 702337"/>
                <a:gd name="connsiteX2" fmla="*/ 0 w 337200"/>
                <a:gd name="connsiteY2" fmla="*/ 468649 h 702337"/>
                <a:gd name="connsiteX3" fmla="*/ 0 w 337200"/>
                <a:gd name="connsiteY3" fmla="*/ 0 h 702337"/>
                <a:gd name="connsiteX4" fmla="*/ 168283 w 337200"/>
                <a:gd name="connsiteY4" fmla="*/ 116845 h 702337"/>
                <a:gd name="connsiteX5" fmla="*/ 168283 w 337200"/>
                <a:gd name="connsiteY5" fmla="*/ 351169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7">
                  <a:moveTo>
                    <a:pt x="337201" y="468649"/>
                  </a:move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8283" y="116845"/>
                  </a:lnTo>
                  <a:lnTo>
                    <a:pt x="16828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1ADDF2A-388B-4186-AD3F-0586B748E92C}"/>
                </a:ext>
              </a:extLst>
            </p:cNvPr>
            <p:cNvSpPr/>
            <p:nvPr/>
          </p:nvSpPr>
          <p:spPr>
            <a:xfrm>
              <a:off x="10989745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443CACCB-39E2-4EA8-AC99-9401646FDCB0}"/>
                </a:ext>
              </a:extLst>
            </p:cNvPr>
            <p:cNvSpPr/>
            <p:nvPr/>
          </p:nvSpPr>
          <p:spPr>
            <a:xfrm>
              <a:off x="10649369" y="3427232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8 h 466108"/>
                <a:gd name="connsiteX2" fmla="*/ 0 w 337200"/>
                <a:gd name="connsiteY2" fmla="*/ 231784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6C8C4B9-7425-4479-B651-308F9DD66200}"/>
                </a:ext>
              </a:extLst>
            </p:cNvPr>
            <p:cNvSpPr/>
            <p:nvPr/>
          </p:nvSpPr>
          <p:spPr>
            <a:xfrm>
              <a:off x="6225117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B744EA5-A0DD-48CB-BD03-E3283B6C1FAB}"/>
                </a:ext>
              </a:extLst>
            </p:cNvPr>
            <p:cNvSpPr/>
            <p:nvPr/>
          </p:nvSpPr>
          <p:spPr>
            <a:xfrm>
              <a:off x="6905869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EC0FB516-189B-4E42-9CDF-C87020608F8C}"/>
                </a:ext>
              </a:extLst>
            </p:cNvPr>
            <p:cNvSpPr/>
            <p:nvPr/>
          </p:nvSpPr>
          <p:spPr>
            <a:xfrm>
              <a:off x="7586621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3CAD79AE-A908-419C-B3E9-6F3003319534}"/>
                </a:ext>
              </a:extLst>
            </p:cNvPr>
            <p:cNvSpPr/>
            <p:nvPr/>
          </p:nvSpPr>
          <p:spPr>
            <a:xfrm>
              <a:off x="8267372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F7334151-2D90-4AD6-93A6-5C9B540CE6A9}"/>
                </a:ext>
              </a:extLst>
            </p:cNvPr>
            <p:cNvSpPr/>
            <p:nvPr/>
          </p:nvSpPr>
          <p:spPr>
            <a:xfrm>
              <a:off x="8948124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9CD0CF71-D7D8-4F66-B05F-5534BA861FE8}"/>
                </a:ext>
              </a:extLst>
            </p:cNvPr>
            <p:cNvSpPr/>
            <p:nvPr/>
          </p:nvSpPr>
          <p:spPr>
            <a:xfrm>
              <a:off x="9628876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01CDDE50-8826-418D-BE3C-CE7FC5CF963E}"/>
                </a:ext>
              </a:extLst>
            </p:cNvPr>
            <p:cNvSpPr/>
            <p:nvPr/>
          </p:nvSpPr>
          <p:spPr>
            <a:xfrm>
              <a:off x="10308993" y="1771720"/>
              <a:ext cx="337201" cy="702338"/>
            </a:xfrm>
            <a:custGeom>
              <a:avLst/>
              <a:gdLst>
                <a:gd name="connsiteX0" fmla="*/ 168283 w 337201"/>
                <a:gd name="connsiteY0" fmla="*/ 116210 h 702338"/>
                <a:gd name="connsiteX1" fmla="*/ 168283 w 337201"/>
                <a:gd name="connsiteY1" fmla="*/ 351169 h 702338"/>
                <a:gd name="connsiteX2" fmla="*/ 337201 w 337201"/>
                <a:gd name="connsiteY2" fmla="*/ 468649 h 702338"/>
                <a:gd name="connsiteX3" fmla="*/ 337201 w 337201"/>
                <a:gd name="connsiteY3" fmla="*/ 702338 h 702338"/>
                <a:gd name="connsiteX4" fmla="*/ 0 w 337201"/>
                <a:gd name="connsiteY4" fmla="*/ 468014 h 702338"/>
                <a:gd name="connsiteX5" fmla="*/ 0 w 337201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FC56595-95A9-4044-BEB7-338F22D1B63E}"/>
                </a:ext>
              </a:extLst>
            </p:cNvPr>
            <p:cNvSpPr/>
            <p:nvPr/>
          </p:nvSpPr>
          <p:spPr>
            <a:xfrm>
              <a:off x="5884741" y="2007950"/>
              <a:ext cx="164472" cy="227974"/>
            </a:xfrm>
            <a:custGeom>
              <a:avLst/>
              <a:gdLst>
                <a:gd name="connsiteX0" fmla="*/ 164473 w 164472"/>
                <a:gd name="connsiteY0" fmla="*/ 114305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C330D5F3-E30E-4C16-A64E-11AF52E979BD}"/>
                </a:ext>
              </a:extLst>
            </p:cNvPr>
            <p:cNvSpPr/>
            <p:nvPr/>
          </p:nvSpPr>
          <p:spPr>
            <a:xfrm>
              <a:off x="5886011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8471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782BD340-55C8-47D4-92B8-8B2B97FC65F7}"/>
                </a:ext>
              </a:extLst>
            </p:cNvPr>
            <p:cNvSpPr/>
            <p:nvPr/>
          </p:nvSpPr>
          <p:spPr>
            <a:xfrm>
              <a:off x="6565493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305DA62D-3E8B-4444-9940-A06926FDB9CF}"/>
                </a:ext>
              </a:extLst>
            </p:cNvPr>
            <p:cNvSpPr/>
            <p:nvPr/>
          </p:nvSpPr>
          <p:spPr>
            <a:xfrm>
              <a:off x="6566763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8471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C31DF2A-3F35-4928-AE6F-FD139173A0FB}"/>
                </a:ext>
              </a:extLst>
            </p:cNvPr>
            <p:cNvSpPr/>
            <p:nvPr/>
          </p:nvSpPr>
          <p:spPr>
            <a:xfrm>
              <a:off x="7246245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033AB131-8015-4D37-8013-5F2C1AF3203E}"/>
                </a:ext>
              </a:extLst>
            </p:cNvPr>
            <p:cNvSpPr/>
            <p:nvPr/>
          </p:nvSpPr>
          <p:spPr>
            <a:xfrm>
              <a:off x="7247515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7836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299B9582-93C4-45E7-A59E-31617D1D3020}"/>
                </a:ext>
              </a:extLst>
            </p:cNvPr>
            <p:cNvSpPr/>
            <p:nvPr/>
          </p:nvSpPr>
          <p:spPr>
            <a:xfrm>
              <a:off x="7926997" y="2007950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DD141CE6-D000-4C34-AAED-AC6ADC543E23}"/>
                </a:ext>
              </a:extLst>
            </p:cNvPr>
            <p:cNvSpPr/>
            <p:nvPr/>
          </p:nvSpPr>
          <p:spPr>
            <a:xfrm>
              <a:off x="7928267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1 w 674401"/>
                <a:gd name="connsiteY1" fmla="*/ 234324 h 351804"/>
                <a:gd name="connsiteX2" fmla="*/ 506754 w 674401"/>
                <a:gd name="connsiteY2" fmla="*/ 351169 h 351804"/>
                <a:gd name="connsiteX3" fmla="*/ 337836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3B89D51-61C9-47E3-9D41-42A55AC37292}"/>
                </a:ext>
              </a:extLst>
            </p:cNvPr>
            <p:cNvSpPr/>
            <p:nvPr/>
          </p:nvSpPr>
          <p:spPr>
            <a:xfrm>
              <a:off x="8607749" y="2007950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325920DF-F3A8-4F16-905C-3122D1E2B44D}"/>
                </a:ext>
              </a:extLst>
            </p:cNvPr>
            <p:cNvSpPr/>
            <p:nvPr/>
          </p:nvSpPr>
          <p:spPr>
            <a:xfrm>
              <a:off x="8609018" y="2242909"/>
              <a:ext cx="673766" cy="351804"/>
            </a:xfrm>
            <a:custGeom>
              <a:avLst/>
              <a:gdLst>
                <a:gd name="connsiteX0" fmla="*/ 337201 w 673766"/>
                <a:gd name="connsiteY0" fmla="*/ 0 h 351804"/>
                <a:gd name="connsiteX1" fmla="*/ 673767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7201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1F934023-089F-4239-B5D8-F8BEAD47DB37}"/>
                </a:ext>
              </a:extLst>
            </p:cNvPr>
            <p:cNvSpPr/>
            <p:nvPr/>
          </p:nvSpPr>
          <p:spPr>
            <a:xfrm>
              <a:off x="9288500" y="2007950"/>
              <a:ext cx="163837" cy="227339"/>
            </a:xfrm>
            <a:custGeom>
              <a:avLst/>
              <a:gdLst>
                <a:gd name="connsiteX0" fmla="*/ 0 w 163837"/>
                <a:gd name="connsiteY0" fmla="*/ 0 h 227339"/>
                <a:gd name="connsiteX1" fmla="*/ 163838 w 163837"/>
                <a:gd name="connsiteY1" fmla="*/ 114305 h 227339"/>
                <a:gd name="connsiteX2" fmla="*/ 0 w 163837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0" y="0"/>
                  </a:moveTo>
                  <a:lnTo>
                    <a:pt x="163838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D759BE44-28FC-41D3-8C50-F468A5FFB64D}"/>
                </a:ext>
              </a:extLst>
            </p:cNvPr>
            <p:cNvSpPr/>
            <p:nvPr/>
          </p:nvSpPr>
          <p:spPr>
            <a:xfrm>
              <a:off x="9289770" y="2242909"/>
              <a:ext cx="673766" cy="351804"/>
            </a:xfrm>
            <a:custGeom>
              <a:avLst/>
              <a:gdLst>
                <a:gd name="connsiteX0" fmla="*/ 337201 w 673766"/>
                <a:gd name="connsiteY0" fmla="*/ 0 h 351804"/>
                <a:gd name="connsiteX1" fmla="*/ 673767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7201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8BDA129B-34BF-4C48-A1FB-FE16A8646049}"/>
                </a:ext>
              </a:extLst>
            </p:cNvPr>
            <p:cNvSpPr/>
            <p:nvPr/>
          </p:nvSpPr>
          <p:spPr>
            <a:xfrm>
              <a:off x="9968617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B2510271-CBAA-4CC6-BC87-13A4440156B9}"/>
                </a:ext>
              </a:extLst>
            </p:cNvPr>
            <p:cNvSpPr/>
            <p:nvPr/>
          </p:nvSpPr>
          <p:spPr>
            <a:xfrm>
              <a:off x="9970522" y="2242909"/>
              <a:ext cx="673766" cy="351804"/>
            </a:xfrm>
            <a:custGeom>
              <a:avLst/>
              <a:gdLst>
                <a:gd name="connsiteX0" fmla="*/ 336566 w 673766"/>
                <a:gd name="connsiteY0" fmla="*/ 0 h 351804"/>
                <a:gd name="connsiteX1" fmla="*/ 673766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6566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6566" y="0"/>
                  </a:moveTo>
                  <a:lnTo>
                    <a:pt x="673766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6566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32248F2F-4F58-4B95-9DB5-83046F1408B8}"/>
                </a:ext>
              </a:extLst>
            </p:cNvPr>
            <p:cNvSpPr/>
            <p:nvPr/>
          </p:nvSpPr>
          <p:spPr>
            <a:xfrm>
              <a:off x="10308993" y="2717273"/>
              <a:ext cx="337201" cy="466108"/>
            </a:xfrm>
            <a:custGeom>
              <a:avLst/>
              <a:gdLst>
                <a:gd name="connsiteX0" fmla="*/ 337201 w 337201"/>
                <a:gd name="connsiteY0" fmla="*/ 232419 h 466108"/>
                <a:gd name="connsiteX1" fmla="*/ 0 w 337201"/>
                <a:gd name="connsiteY1" fmla="*/ 466109 h 466108"/>
                <a:gd name="connsiteX2" fmla="*/ 0 w 337201"/>
                <a:gd name="connsiteY2" fmla="*/ 232419 h 466108"/>
                <a:gd name="connsiteX3" fmla="*/ 337201 w 337201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1" h="466108">
                  <a:moveTo>
                    <a:pt x="337201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DC50E18B-F19A-4CFF-AC12-071B40EAAC93}"/>
                </a:ext>
              </a:extLst>
            </p:cNvPr>
            <p:cNvSpPr/>
            <p:nvPr/>
          </p:nvSpPr>
          <p:spPr>
            <a:xfrm>
              <a:off x="5884741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3CE00540-4227-41C0-AD1F-68B5936D35EB}"/>
                </a:ext>
              </a:extLst>
            </p:cNvPr>
            <p:cNvSpPr/>
            <p:nvPr/>
          </p:nvSpPr>
          <p:spPr>
            <a:xfrm>
              <a:off x="6565493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55EFD218-9869-495E-AD61-860397277F65}"/>
                </a:ext>
              </a:extLst>
            </p:cNvPr>
            <p:cNvSpPr/>
            <p:nvPr/>
          </p:nvSpPr>
          <p:spPr>
            <a:xfrm>
              <a:off x="7246245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86D3FFB9-CD19-4B38-8C4D-FE7250BA4220}"/>
                </a:ext>
              </a:extLst>
            </p:cNvPr>
            <p:cNvSpPr/>
            <p:nvPr/>
          </p:nvSpPr>
          <p:spPr>
            <a:xfrm>
              <a:off x="7926997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DCB12E43-EDEE-42E1-8DCB-2780B2BE36CD}"/>
                </a:ext>
              </a:extLst>
            </p:cNvPr>
            <p:cNvSpPr/>
            <p:nvPr/>
          </p:nvSpPr>
          <p:spPr>
            <a:xfrm>
              <a:off x="8607749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ED96145D-F364-4FA7-9A14-D1ABAE38FB39}"/>
                </a:ext>
              </a:extLst>
            </p:cNvPr>
            <p:cNvSpPr/>
            <p:nvPr/>
          </p:nvSpPr>
          <p:spPr>
            <a:xfrm>
              <a:off x="9288500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7AE77DD9-96FE-4C7A-A814-29E2013D8011}"/>
                </a:ext>
              </a:extLst>
            </p:cNvPr>
            <p:cNvSpPr/>
            <p:nvPr/>
          </p:nvSpPr>
          <p:spPr>
            <a:xfrm>
              <a:off x="9968617" y="2481044"/>
              <a:ext cx="337200" cy="702337"/>
            </a:xfrm>
            <a:custGeom>
              <a:avLst/>
              <a:gdLst>
                <a:gd name="connsiteX0" fmla="*/ 168283 w 337200"/>
                <a:gd name="connsiteY0" fmla="*/ 116845 h 702337"/>
                <a:gd name="connsiteX1" fmla="*/ 168283 w 337200"/>
                <a:gd name="connsiteY1" fmla="*/ 351169 h 702337"/>
                <a:gd name="connsiteX2" fmla="*/ 337201 w 337200"/>
                <a:gd name="connsiteY2" fmla="*/ 468649 h 702337"/>
                <a:gd name="connsiteX3" fmla="*/ 337201 w 337200"/>
                <a:gd name="connsiteY3" fmla="*/ 702338 h 702337"/>
                <a:gd name="connsiteX4" fmla="*/ 0 w 337200"/>
                <a:gd name="connsiteY4" fmla="*/ 468649 h 702337"/>
                <a:gd name="connsiteX5" fmla="*/ 0 w 337200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7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53E11C83-5B65-40E3-B352-E004406309AC}"/>
                </a:ext>
              </a:extLst>
            </p:cNvPr>
            <p:cNvSpPr/>
            <p:nvPr/>
          </p:nvSpPr>
          <p:spPr>
            <a:xfrm>
              <a:off x="10308993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6E1DBF3-84FA-402E-9E19-09A3560CCCFB}"/>
                </a:ext>
              </a:extLst>
            </p:cNvPr>
            <p:cNvSpPr/>
            <p:nvPr/>
          </p:nvSpPr>
          <p:spPr>
            <a:xfrm>
              <a:off x="9968617" y="3427232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8 h 466108"/>
                <a:gd name="connsiteX2" fmla="*/ 0 w 337200"/>
                <a:gd name="connsiteY2" fmla="*/ 231784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8"/>
                  </a:lnTo>
                  <a:lnTo>
                    <a:pt x="0" y="231784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7CA5F8E1-F2CF-45CF-B32F-378A09914289}"/>
                </a:ext>
              </a:extLst>
            </p:cNvPr>
            <p:cNvSpPr/>
            <p:nvPr/>
          </p:nvSpPr>
          <p:spPr>
            <a:xfrm>
              <a:off x="6225117" y="2717273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C827B525-BAAD-415A-844C-438FA2C616B6}"/>
                </a:ext>
              </a:extLst>
            </p:cNvPr>
            <p:cNvSpPr/>
            <p:nvPr/>
          </p:nvSpPr>
          <p:spPr>
            <a:xfrm>
              <a:off x="6226387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8471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9182623-8EE2-4FAB-A33F-DE36638F85B4}"/>
                </a:ext>
              </a:extLst>
            </p:cNvPr>
            <p:cNvSpPr/>
            <p:nvPr/>
          </p:nvSpPr>
          <p:spPr>
            <a:xfrm>
              <a:off x="6905869" y="2717273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C14EA703-DDD1-445F-8CD5-0F5E5B8416BA}"/>
                </a:ext>
              </a:extLst>
            </p:cNvPr>
            <p:cNvSpPr/>
            <p:nvPr/>
          </p:nvSpPr>
          <p:spPr>
            <a:xfrm>
              <a:off x="6907139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656AF480-FF2E-4FAD-9EC4-B0AA3D7F9571}"/>
                </a:ext>
              </a:extLst>
            </p:cNvPr>
            <p:cNvSpPr/>
            <p:nvPr/>
          </p:nvSpPr>
          <p:spPr>
            <a:xfrm>
              <a:off x="7586621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C4D952BF-2AA5-49E2-8574-91E84C6D103B}"/>
                </a:ext>
              </a:extLst>
            </p:cNvPr>
            <p:cNvSpPr/>
            <p:nvPr/>
          </p:nvSpPr>
          <p:spPr>
            <a:xfrm>
              <a:off x="7587891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9CF4C8FC-76FE-4349-911B-472FD131DFFB}"/>
                </a:ext>
              </a:extLst>
            </p:cNvPr>
            <p:cNvSpPr/>
            <p:nvPr/>
          </p:nvSpPr>
          <p:spPr>
            <a:xfrm>
              <a:off x="8267372" y="2717273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15852022-E13D-461C-B03B-B9785E4224BE}"/>
                </a:ext>
              </a:extLst>
            </p:cNvPr>
            <p:cNvSpPr/>
            <p:nvPr/>
          </p:nvSpPr>
          <p:spPr>
            <a:xfrm>
              <a:off x="8268643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9DCB2652-C20B-4A50-9717-F307D4448256}"/>
                </a:ext>
              </a:extLst>
            </p:cNvPr>
            <p:cNvSpPr/>
            <p:nvPr/>
          </p:nvSpPr>
          <p:spPr>
            <a:xfrm>
              <a:off x="8948124" y="2717273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20DDCA67-7550-4725-96AE-AAC68D69ECCE}"/>
                </a:ext>
              </a:extLst>
            </p:cNvPr>
            <p:cNvSpPr/>
            <p:nvPr/>
          </p:nvSpPr>
          <p:spPr>
            <a:xfrm>
              <a:off x="8949395" y="2952868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9C4A2BD7-A29F-43FD-A0D0-EA3CFF8A676D}"/>
                </a:ext>
              </a:extLst>
            </p:cNvPr>
            <p:cNvSpPr/>
            <p:nvPr/>
          </p:nvSpPr>
          <p:spPr>
            <a:xfrm>
              <a:off x="9628876" y="2717273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9B631A0-07CE-4731-BF18-13663077CBAC}"/>
                </a:ext>
              </a:extLst>
            </p:cNvPr>
            <p:cNvSpPr/>
            <p:nvPr/>
          </p:nvSpPr>
          <p:spPr>
            <a:xfrm>
              <a:off x="9630146" y="2952868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8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8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5E9EF1EC-6FED-481E-AD90-49EB598CE6B4}"/>
                </a:ext>
              </a:extLst>
            </p:cNvPr>
            <p:cNvSpPr/>
            <p:nvPr/>
          </p:nvSpPr>
          <p:spPr>
            <a:xfrm>
              <a:off x="6225117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33C0CB7A-776D-4270-81F1-A6DF4E36A0B5}"/>
                </a:ext>
              </a:extLst>
            </p:cNvPr>
            <p:cNvSpPr/>
            <p:nvPr/>
          </p:nvSpPr>
          <p:spPr>
            <a:xfrm>
              <a:off x="6905869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9A92C8F4-3F89-410B-95DE-14889E61C6BE}"/>
                </a:ext>
              </a:extLst>
            </p:cNvPr>
            <p:cNvSpPr/>
            <p:nvPr/>
          </p:nvSpPr>
          <p:spPr>
            <a:xfrm>
              <a:off x="7586621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B818EB59-386E-4B12-9DB5-67BBFF1F8319}"/>
                </a:ext>
              </a:extLst>
            </p:cNvPr>
            <p:cNvSpPr/>
            <p:nvPr/>
          </p:nvSpPr>
          <p:spPr>
            <a:xfrm>
              <a:off x="8267372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315AB366-349E-4A15-980A-C66B3E374AE5}"/>
                </a:ext>
              </a:extLst>
            </p:cNvPr>
            <p:cNvSpPr/>
            <p:nvPr/>
          </p:nvSpPr>
          <p:spPr>
            <a:xfrm>
              <a:off x="8948124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2E4FEECF-D566-4EF9-9F40-7441FCF227E7}"/>
                </a:ext>
              </a:extLst>
            </p:cNvPr>
            <p:cNvSpPr/>
            <p:nvPr/>
          </p:nvSpPr>
          <p:spPr>
            <a:xfrm>
              <a:off x="5884741" y="3427232"/>
              <a:ext cx="164472" cy="227339"/>
            </a:xfrm>
            <a:custGeom>
              <a:avLst/>
              <a:gdLst>
                <a:gd name="connsiteX0" fmla="*/ 164473 w 164472"/>
                <a:gd name="connsiteY0" fmla="*/ 114305 h 227339"/>
                <a:gd name="connsiteX1" fmla="*/ 0 w 164472"/>
                <a:gd name="connsiteY1" fmla="*/ 227339 h 227339"/>
                <a:gd name="connsiteX2" fmla="*/ 0 w 164472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164473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1D5CB6F7-A3EA-4CEE-B3D7-FB78F807AD60}"/>
                </a:ext>
              </a:extLst>
            </p:cNvPr>
            <p:cNvSpPr/>
            <p:nvPr/>
          </p:nvSpPr>
          <p:spPr>
            <a:xfrm>
              <a:off x="5886011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8471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A939BB36-07EC-4783-A4E8-AE8255F5B50D}"/>
                </a:ext>
              </a:extLst>
            </p:cNvPr>
            <p:cNvSpPr/>
            <p:nvPr/>
          </p:nvSpPr>
          <p:spPr>
            <a:xfrm>
              <a:off x="6565493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D62041A5-7F3C-4724-8B71-ADC54CF542C9}"/>
                </a:ext>
              </a:extLst>
            </p:cNvPr>
            <p:cNvSpPr/>
            <p:nvPr/>
          </p:nvSpPr>
          <p:spPr>
            <a:xfrm>
              <a:off x="6566763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8471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22174C58-9A55-4DFF-A8DD-EF28CD3172A7}"/>
                </a:ext>
              </a:extLst>
            </p:cNvPr>
            <p:cNvSpPr/>
            <p:nvPr/>
          </p:nvSpPr>
          <p:spPr>
            <a:xfrm>
              <a:off x="7246245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CF433F85-2DC9-40D4-BC50-64D8C503C675}"/>
                </a:ext>
              </a:extLst>
            </p:cNvPr>
            <p:cNvSpPr/>
            <p:nvPr/>
          </p:nvSpPr>
          <p:spPr>
            <a:xfrm>
              <a:off x="7247515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7836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A6F42F1D-BE28-4EF4-A16B-D397405FB47D}"/>
                </a:ext>
              </a:extLst>
            </p:cNvPr>
            <p:cNvSpPr/>
            <p:nvPr/>
          </p:nvSpPr>
          <p:spPr>
            <a:xfrm>
              <a:off x="7926997" y="3427232"/>
              <a:ext cx="163837" cy="227339"/>
            </a:xfrm>
            <a:custGeom>
              <a:avLst/>
              <a:gdLst>
                <a:gd name="connsiteX0" fmla="*/ 163838 w 163837"/>
                <a:gd name="connsiteY0" fmla="*/ 114305 h 227339"/>
                <a:gd name="connsiteX1" fmla="*/ 0 w 163837"/>
                <a:gd name="connsiteY1" fmla="*/ 227339 h 227339"/>
                <a:gd name="connsiteX2" fmla="*/ 0 w 163837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163838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B9BC24A7-2176-443A-9319-C3011B41334B}"/>
                </a:ext>
              </a:extLst>
            </p:cNvPr>
            <p:cNvSpPr/>
            <p:nvPr/>
          </p:nvSpPr>
          <p:spPr>
            <a:xfrm>
              <a:off x="7928267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1169 h 351168"/>
                <a:gd name="connsiteX3" fmla="*/ 337836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1105A2E3-EEB4-4481-A906-DF128DBB8556}"/>
                </a:ext>
              </a:extLst>
            </p:cNvPr>
            <p:cNvSpPr/>
            <p:nvPr/>
          </p:nvSpPr>
          <p:spPr>
            <a:xfrm>
              <a:off x="8607749" y="3427232"/>
              <a:ext cx="163837" cy="227339"/>
            </a:xfrm>
            <a:custGeom>
              <a:avLst/>
              <a:gdLst>
                <a:gd name="connsiteX0" fmla="*/ 163838 w 163837"/>
                <a:gd name="connsiteY0" fmla="*/ 114305 h 227339"/>
                <a:gd name="connsiteX1" fmla="*/ 0 w 163837"/>
                <a:gd name="connsiteY1" fmla="*/ 227339 h 227339"/>
                <a:gd name="connsiteX2" fmla="*/ 0 w 163837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163838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F3CC5313-F00E-46ED-9935-39DE41DD1D05}"/>
                </a:ext>
              </a:extLst>
            </p:cNvPr>
            <p:cNvSpPr/>
            <p:nvPr/>
          </p:nvSpPr>
          <p:spPr>
            <a:xfrm>
              <a:off x="8609018" y="3662191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7 w 673766"/>
                <a:gd name="connsiteY1" fmla="*/ 234324 h 351168"/>
                <a:gd name="connsiteX2" fmla="*/ 506119 w 673766"/>
                <a:gd name="connsiteY2" fmla="*/ 351169 h 351168"/>
                <a:gd name="connsiteX3" fmla="*/ 337836 w 673766"/>
                <a:gd name="connsiteY3" fmla="*/ 234959 h 351168"/>
                <a:gd name="connsiteX4" fmla="*/ 337201 w 673766"/>
                <a:gd name="connsiteY4" fmla="*/ 234324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2A70D793-87DE-4F81-8F0A-B87F7AD5AF59}"/>
                </a:ext>
              </a:extLst>
            </p:cNvPr>
            <p:cNvSpPr/>
            <p:nvPr/>
          </p:nvSpPr>
          <p:spPr>
            <a:xfrm>
              <a:off x="9288500" y="3427232"/>
              <a:ext cx="163837" cy="227339"/>
            </a:xfrm>
            <a:custGeom>
              <a:avLst/>
              <a:gdLst>
                <a:gd name="connsiteX0" fmla="*/ 0 w 163837"/>
                <a:gd name="connsiteY0" fmla="*/ 0 h 227339"/>
                <a:gd name="connsiteX1" fmla="*/ 163838 w 163837"/>
                <a:gd name="connsiteY1" fmla="*/ 114305 h 227339"/>
                <a:gd name="connsiteX2" fmla="*/ 0 w 163837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0" y="0"/>
                  </a:moveTo>
                  <a:lnTo>
                    <a:pt x="163838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0F1D6452-3A21-4400-9D41-9F01D2775F61}"/>
                </a:ext>
              </a:extLst>
            </p:cNvPr>
            <p:cNvSpPr/>
            <p:nvPr/>
          </p:nvSpPr>
          <p:spPr>
            <a:xfrm>
              <a:off x="9289770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7201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7201 w 673766"/>
                <a:gd name="connsiteY4" fmla="*/ 0 h 351168"/>
                <a:gd name="connsiteX5" fmla="*/ 673767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774C12C6-603B-4637-83A0-D155265A823C}"/>
                </a:ext>
              </a:extLst>
            </p:cNvPr>
            <p:cNvSpPr/>
            <p:nvPr/>
          </p:nvSpPr>
          <p:spPr>
            <a:xfrm>
              <a:off x="9288500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2F1D8781-0394-4F3C-B730-5BEC4575B2A2}"/>
                </a:ext>
              </a:extLst>
            </p:cNvPr>
            <p:cNvSpPr/>
            <p:nvPr/>
          </p:nvSpPr>
          <p:spPr>
            <a:xfrm>
              <a:off x="9289770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1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1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AAAC85FC-F0B0-4EBE-8393-DB8FB46BCABA}"/>
                </a:ext>
              </a:extLst>
            </p:cNvPr>
            <p:cNvSpPr/>
            <p:nvPr/>
          </p:nvSpPr>
          <p:spPr>
            <a:xfrm>
              <a:off x="9119582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9C99AAD3-E85A-4053-AFB8-4CAF981BAD2C}"/>
                </a:ext>
              </a:extLst>
            </p:cNvPr>
            <p:cNvSpPr/>
            <p:nvPr/>
          </p:nvSpPr>
          <p:spPr>
            <a:xfrm>
              <a:off x="8607749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A02A5EF0-D6FD-47C1-8EE2-249D61B33AA3}"/>
                </a:ext>
              </a:extLst>
            </p:cNvPr>
            <p:cNvSpPr/>
            <p:nvPr/>
          </p:nvSpPr>
          <p:spPr>
            <a:xfrm>
              <a:off x="8609018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0E674B08-9323-44DD-8010-D2A6EC32F530}"/>
                </a:ext>
              </a:extLst>
            </p:cNvPr>
            <p:cNvSpPr/>
            <p:nvPr/>
          </p:nvSpPr>
          <p:spPr>
            <a:xfrm>
              <a:off x="8438830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946BBEF1-267C-4AD1-B85E-A4FBE21362EB}"/>
                </a:ext>
              </a:extLst>
            </p:cNvPr>
            <p:cNvSpPr/>
            <p:nvPr/>
          </p:nvSpPr>
          <p:spPr>
            <a:xfrm>
              <a:off x="7926997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13A23F61-F056-4D12-8B05-D563E7048BA1}"/>
                </a:ext>
              </a:extLst>
            </p:cNvPr>
            <p:cNvSpPr/>
            <p:nvPr/>
          </p:nvSpPr>
          <p:spPr>
            <a:xfrm>
              <a:off x="7928267" y="3307847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4 h 231149"/>
                <a:gd name="connsiteX2" fmla="*/ 166377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4"/>
                  </a:lnTo>
                  <a:lnTo>
                    <a:pt x="166377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6FE04AAF-6A69-46B2-9D71-250F4020D579}"/>
                </a:ext>
              </a:extLst>
            </p:cNvPr>
            <p:cNvSpPr/>
            <p:nvPr/>
          </p:nvSpPr>
          <p:spPr>
            <a:xfrm>
              <a:off x="7758079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5BA43401-1218-45DB-83FD-7702F0E63617}"/>
                </a:ext>
              </a:extLst>
            </p:cNvPr>
            <p:cNvSpPr/>
            <p:nvPr/>
          </p:nvSpPr>
          <p:spPr>
            <a:xfrm>
              <a:off x="7246245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DE2034FB-C0FD-4E6F-91B7-1A9E6B330395}"/>
                </a:ext>
              </a:extLst>
            </p:cNvPr>
            <p:cNvSpPr/>
            <p:nvPr/>
          </p:nvSpPr>
          <p:spPr>
            <a:xfrm>
              <a:off x="7247515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4C2B280D-E981-4DD3-8C95-D6E8B75C6BCD}"/>
                </a:ext>
              </a:extLst>
            </p:cNvPr>
            <p:cNvSpPr/>
            <p:nvPr/>
          </p:nvSpPr>
          <p:spPr>
            <a:xfrm>
              <a:off x="7077327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33867644-AA12-4EC2-ADED-D3AF2C07226E}"/>
                </a:ext>
              </a:extLst>
            </p:cNvPr>
            <p:cNvSpPr/>
            <p:nvPr/>
          </p:nvSpPr>
          <p:spPr>
            <a:xfrm>
              <a:off x="6565493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C5F93F10-F0D6-4A82-A903-5CCB76D11F1C}"/>
                </a:ext>
              </a:extLst>
            </p:cNvPr>
            <p:cNvSpPr/>
            <p:nvPr/>
          </p:nvSpPr>
          <p:spPr>
            <a:xfrm>
              <a:off x="6566763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229F99F4-0E43-4E0E-910F-CCDCDE892330}"/>
                </a:ext>
              </a:extLst>
            </p:cNvPr>
            <p:cNvSpPr/>
            <p:nvPr/>
          </p:nvSpPr>
          <p:spPr>
            <a:xfrm>
              <a:off x="6396575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EE0CE674-AA74-495B-8852-79990673FDD2}"/>
                </a:ext>
              </a:extLst>
            </p:cNvPr>
            <p:cNvSpPr/>
            <p:nvPr/>
          </p:nvSpPr>
          <p:spPr>
            <a:xfrm>
              <a:off x="5884741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7F84C14D-69E9-44A9-91A0-58D35CC129CF}"/>
                </a:ext>
              </a:extLst>
            </p:cNvPr>
            <p:cNvSpPr/>
            <p:nvPr/>
          </p:nvSpPr>
          <p:spPr>
            <a:xfrm>
              <a:off x="5886011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07563523-AA85-4FC4-A4F4-03EE190DBCCD}"/>
                </a:ext>
              </a:extLst>
            </p:cNvPr>
            <p:cNvSpPr/>
            <p:nvPr/>
          </p:nvSpPr>
          <p:spPr>
            <a:xfrm>
              <a:off x="5715823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BCAD2BC0-B6ED-48BF-AE2E-0FB290D004E5}"/>
                </a:ext>
              </a:extLst>
            </p:cNvPr>
            <p:cNvSpPr/>
            <p:nvPr/>
          </p:nvSpPr>
          <p:spPr>
            <a:xfrm>
              <a:off x="9628876" y="3190367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8649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4DF85614-C557-4B3B-A368-FA432ECBF4F4}"/>
                </a:ext>
              </a:extLst>
            </p:cNvPr>
            <p:cNvSpPr/>
            <p:nvPr/>
          </p:nvSpPr>
          <p:spPr>
            <a:xfrm>
              <a:off x="9968617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5D81394A-586B-4F10-A588-2149F3C03127}"/>
                </a:ext>
              </a:extLst>
            </p:cNvPr>
            <p:cNvSpPr/>
            <p:nvPr/>
          </p:nvSpPr>
          <p:spPr>
            <a:xfrm>
              <a:off x="9970522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1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1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E0FA01CE-7307-4106-B27F-DCCA23FAA253}"/>
                </a:ext>
              </a:extLst>
            </p:cNvPr>
            <p:cNvSpPr/>
            <p:nvPr/>
          </p:nvSpPr>
          <p:spPr>
            <a:xfrm>
              <a:off x="9800334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FBEAD109-E3CE-4F5E-B1E6-F850AB51CEF9}"/>
                </a:ext>
              </a:extLst>
            </p:cNvPr>
            <p:cNvSpPr/>
            <p:nvPr/>
          </p:nvSpPr>
          <p:spPr>
            <a:xfrm>
              <a:off x="9459323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F9991A34-08C6-4F3B-8827-DF28C23D5F41}"/>
                </a:ext>
              </a:extLst>
            </p:cNvPr>
            <p:cNvSpPr/>
            <p:nvPr/>
          </p:nvSpPr>
          <p:spPr>
            <a:xfrm>
              <a:off x="8778571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96A6F7FB-8246-4F98-88D7-40836ECECC83}"/>
                </a:ext>
              </a:extLst>
            </p:cNvPr>
            <p:cNvSpPr/>
            <p:nvPr/>
          </p:nvSpPr>
          <p:spPr>
            <a:xfrm>
              <a:off x="8097819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36370102-4813-4D57-B4DB-53E6B01F152F}"/>
                </a:ext>
              </a:extLst>
            </p:cNvPr>
            <p:cNvSpPr/>
            <p:nvPr/>
          </p:nvSpPr>
          <p:spPr>
            <a:xfrm>
              <a:off x="7417068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BBA6BBAC-8562-4F72-83F6-01D58ACEA14D}"/>
                </a:ext>
              </a:extLst>
            </p:cNvPr>
            <p:cNvSpPr/>
            <p:nvPr/>
          </p:nvSpPr>
          <p:spPr>
            <a:xfrm>
              <a:off x="6736316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59C81D27-5AC8-4761-B96B-D61530DF2731}"/>
                </a:ext>
              </a:extLst>
            </p:cNvPr>
            <p:cNvSpPr/>
            <p:nvPr/>
          </p:nvSpPr>
          <p:spPr>
            <a:xfrm>
              <a:off x="6055564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3ECE58F1-342F-4449-A8B2-EAF7572C00F7}"/>
                </a:ext>
              </a:extLst>
            </p:cNvPr>
            <p:cNvSpPr/>
            <p:nvPr/>
          </p:nvSpPr>
          <p:spPr>
            <a:xfrm>
              <a:off x="10139440" y="3190367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9685CDF7-98A0-41F9-82BF-A0E2920AC938}"/>
                </a:ext>
              </a:extLst>
            </p:cNvPr>
            <p:cNvSpPr/>
            <p:nvPr/>
          </p:nvSpPr>
          <p:spPr>
            <a:xfrm>
              <a:off x="9628876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2B114F73-3027-48D2-8CE1-B0F88AB3AB13}"/>
                </a:ext>
              </a:extLst>
            </p:cNvPr>
            <p:cNvSpPr/>
            <p:nvPr/>
          </p:nvSpPr>
          <p:spPr>
            <a:xfrm>
              <a:off x="9630146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2C58577A-4B1A-4C40-8FD3-A8082B407BCC}"/>
                </a:ext>
              </a:extLst>
            </p:cNvPr>
            <p:cNvSpPr/>
            <p:nvPr/>
          </p:nvSpPr>
          <p:spPr>
            <a:xfrm>
              <a:off x="9459958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001B54A0-6DD8-4FF2-A586-1F54722672EB}"/>
                </a:ext>
              </a:extLst>
            </p:cNvPr>
            <p:cNvSpPr/>
            <p:nvPr/>
          </p:nvSpPr>
          <p:spPr>
            <a:xfrm>
              <a:off x="8948124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134E9526-3882-4149-94FB-61CCEDFF58A1}"/>
                </a:ext>
              </a:extLst>
            </p:cNvPr>
            <p:cNvSpPr/>
            <p:nvPr/>
          </p:nvSpPr>
          <p:spPr>
            <a:xfrm>
              <a:off x="8949395" y="2598524"/>
              <a:ext cx="334025" cy="231149"/>
            </a:xfrm>
            <a:custGeom>
              <a:avLst/>
              <a:gdLst>
                <a:gd name="connsiteX0" fmla="*/ 165743 w 334025"/>
                <a:gd name="connsiteY0" fmla="*/ 231149 h 231149"/>
                <a:gd name="connsiteX1" fmla="*/ 0 w 334025"/>
                <a:gd name="connsiteY1" fmla="*/ 115575 h 231149"/>
                <a:gd name="connsiteX2" fmla="*/ 165743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AE16586D-39DC-43B8-BFB7-737A8A8B9860}"/>
                </a:ext>
              </a:extLst>
            </p:cNvPr>
            <p:cNvSpPr/>
            <p:nvPr/>
          </p:nvSpPr>
          <p:spPr>
            <a:xfrm>
              <a:off x="8779207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205F0529-BA29-4466-89E0-3E0FFECBCDEC}"/>
                </a:ext>
              </a:extLst>
            </p:cNvPr>
            <p:cNvSpPr/>
            <p:nvPr/>
          </p:nvSpPr>
          <p:spPr>
            <a:xfrm>
              <a:off x="8267372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D6ED1F7A-F39E-417F-BA23-DACEB4ED6ACF}"/>
                </a:ext>
              </a:extLst>
            </p:cNvPr>
            <p:cNvSpPr/>
            <p:nvPr/>
          </p:nvSpPr>
          <p:spPr>
            <a:xfrm>
              <a:off x="8268643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4BA212FF-B362-4351-B7F7-7973F5AE818E}"/>
                </a:ext>
              </a:extLst>
            </p:cNvPr>
            <p:cNvSpPr/>
            <p:nvPr/>
          </p:nvSpPr>
          <p:spPr>
            <a:xfrm>
              <a:off x="8098455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0D28068-E3C3-485A-AC55-7220A97B727E}"/>
                </a:ext>
              </a:extLst>
            </p:cNvPr>
            <p:cNvSpPr/>
            <p:nvPr/>
          </p:nvSpPr>
          <p:spPr>
            <a:xfrm>
              <a:off x="7586621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21FDE1AC-A140-4914-825D-590E24CCB82C}"/>
                </a:ext>
              </a:extLst>
            </p:cNvPr>
            <p:cNvSpPr/>
            <p:nvPr/>
          </p:nvSpPr>
          <p:spPr>
            <a:xfrm>
              <a:off x="7587891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28E97E00-427C-4819-86AA-B171939DC277}"/>
                </a:ext>
              </a:extLst>
            </p:cNvPr>
            <p:cNvSpPr/>
            <p:nvPr/>
          </p:nvSpPr>
          <p:spPr>
            <a:xfrm>
              <a:off x="7417703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3ADC755C-F9F0-4452-9B92-85800B560E21}"/>
                </a:ext>
              </a:extLst>
            </p:cNvPr>
            <p:cNvSpPr/>
            <p:nvPr/>
          </p:nvSpPr>
          <p:spPr>
            <a:xfrm>
              <a:off x="6905869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AD118F9A-85D5-4B12-952B-190584895EC0}"/>
                </a:ext>
              </a:extLst>
            </p:cNvPr>
            <p:cNvSpPr/>
            <p:nvPr/>
          </p:nvSpPr>
          <p:spPr>
            <a:xfrm>
              <a:off x="6907139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8DF3ACF1-84C6-48F6-B683-6FB121110E41}"/>
                </a:ext>
              </a:extLst>
            </p:cNvPr>
            <p:cNvSpPr/>
            <p:nvPr/>
          </p:nvSpPr>
          <p:spPr>
            <a:xfrm>
              <a:off x="6736951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3FB540CF-F034-41E6-8A16-463327EF60D9}"/>
                </a:ext>
              </a:extLst>
            </p:cNvPr>
            <p:cNvSpPr/>
            <p:nvPr/>
          </p:nvSpPr>
          <p:spPr>
            <a:xfrm>
              <a:off x="6225117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BBEDB76A-5014-431B-AD21-144DD9F9A97B}"/>
                </a:ext>
              </a:extLst>
            </p:cNvPr>
            <p:cNvSpPr/>
            <p:nvPr/>
          </p:nvSpPr>
          <p:spPr>
            <a:xfrm>
              <a:off x="6226387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684F3FC6-D392-432F-9B6C-9D843538863B}"/>
                </a:ext>
              </a:extLst>
            </p:cNvPr>
            <p:cNvSpPr/>
            <p:nvPr/>
          </p:nvSpPr>
          <p:spPr>
            <a:xfrm>
              <a:off x="6056199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604EB1E1-3F66-4AEE-A52E-4AA863677FC7}"/>
                </a:ext>
              </a:extLst>
            </p:cNvPr>
            <p:cNvSpPr/>
            <p:nvPr/>
          </p:nvSpPr>
          <p:spPr>
            <a:xfrm>
              <a:off x="9970522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6566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6566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8C90006C-884A-44DE-B7B0-BBF542823B83}"/>
                </a:ext>
              </a:extLst>
            </p:cNvPr>
            <p:cNvSpPr/>
            <p:nvPr/>
          </p:nvSpPr>
          <p:spPr>
            <a:xfrm>
              <a:off x="10310898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412182C1-AB3B-411B-8F55-17F69748A566}"/>
                </a:ext>
              </a:extLst>
            </p:cNvPr>
            <p:cNvSpPr/>
            <p:nvPr/>
          </p:nvSpPr>
          <p:spPr>
            <a:xfrm>
              <a:off x="10140075" y="2481679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C6E85275-B88D-482F-8B8E-673038966349}"/>
                </a:ext>
              </a:extLst>
            </p:cNvPr>
            <p:cNvSpPr/>
            <p:nvPr/>
          </p:nvSpPr>
          <p:spPr>
            <a:xfrm>
              <a:off x="9799699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2B3B90BF-1B00-4C9D-8E27-E7FA2B091580}"/>
                </a:ext>
              </a:extLst>
            </p:cNvPr>
            <p:cNvSpPr/>
            <p:nvPr/>
          </p:nvSpPr>
          <p:spPr>
            <a:xfrm>
              <a:off x="9118948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FBEDBB7E-C026-498D-9AAA-4DC2E26825F9}"/>
                </a:ext>
              </a:extLst>
            </p:cNvPr>
            <p:cNvSpPr/>
            <p:nvPr/>
          </p:nvSpPr>
          <p:spPr>
            <a:xfrm>
              <a:off x="8438196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04E6CA75-6563-4B35-A322-104587CFE903}"/>
                </a:ext>
              </a:extLst>
            </p:cNvPr>
            <p:cNvSpPr/>
            <p:nvPr/>
          </p:nvSpPr>
          <p:spPr>
            <a:xfrm>
              <a:off x="7757444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9C0BC556-CC8E-48D9-8790-5A6BF0EFD156}"/>
                </a:ext>
              </a:extLst>
            </p:cNvPr>
            <p:cNvSpPr/>
            <p:nvPr/>
          </p:nvSpPr>
          <p:spPr>
            <a:xfrm>
              <a:off x="7076692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A6720D8A-7287-49F4-A6A6-8036480253F8}"/>
                </a:ext>
              </a:extLst>
            </p:cNvPr>
            <p:cNvSpPr/>
            <p:nvPr/>
          </p:nvSpPr>
          <p:spPr>
            <a:xfrm>
              <a:off x="6395940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EBEF756D-C8F2-4A09-8566-D02AF549B1A2}"/>
                </a:ext>
              </a:extLst>
            </p:cNvPr>
            <p:cNvSpPr/>
            <p:nvPr/>
          </p:nvSpPr>
          <p:spPr>
            <a:xfrm>
              <a:off x="5715188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0CF7F111-8BAE-477A-8AA8-DFBE0817EC8E}"/>
                </a:ext>
              </a:extLst>
            </p:cNvPr>
            <p:cNvSpPr/>
            <p:nvPr/>
          </p:nvSpPr>
          <p:spPr>
            <a:xfrm>
              <a:off x="10308993" y="3190367"/>
              <a:ext cx="337201" cy="702973"/>
            </a:xfrm>
            <a:custGeom>
              <a:avLst/>
              <a:gdLst>
                <a:gd name="connsiteX0" fmla="*/ 0 w 337201"/>
                <a:gd name="connsiteY0" fmla="*/ 468649 h 702973"/>
                <a:gd name="connsiteX1" fmla="*/ 0 w 337201"/>
                <a:gd name="connsiteY1" fmla="*/ 0 h 702973"/>
                <a:gd name="connsiteX2" fmla="*/ 168283 w 337201"/>
                <a:gd name="connsiteY2" fmla="*/ 116845 h 702973"/>
                <a:gd name="connsiteX3" fmla="*/ 168283 w 337201"/>
                <a:gd name="connsiteY3" fmla="*/ 351804 h 702973"/>
                <a:gd name="connsiteX4" fmla="*/ 337201 w 337201"/>
                <a:gd name="connsiteY4" fmla="*/ 468649 h 702973"/>
                <a:gd name="connsiteX5" fmla="*/ 337201 w 337201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973">
                  <a:moveTo>
                    <a:pt x="0" y="468649"/>
                  </a:moveTo>
                  <a:lnTo>
                    <a:pt x="0" y="0"/>
                  </a:lnTo>
                  <a:lnTo>
                    <a:pt x="168283" y="116845"/>
                  </a:lnTo>
                  <a:lnTo>
                    <a:pt x="168283" y="351804"/>
                  </a:lnTo>
                  <a:lnTo>
                    <a:pt x="337201" y="468649"/>
                  </a:lnTo>
                  <a:lnTo>
                    <a:pt x="337201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5658C18C-2F05-421A-B49A-D685CBBC0D0D}"/>
                </a:ext>
              </a:extLst>
            </p:cNvPr>
            <p:cNvSpPr/>
            <p:nvPr/>
          </p:nvSpPr>
          <p:spPr>
            <a:xfrm>
              <a:off x="10649369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14C04ACE-AA35-420A-B14E-4A9290E5C1ED}"/>
                </a:ext>
              </a:extLst>
            </p:cNvPr>
            <p:cNvSpPr/>
            <p:nvPr/>
          </p:nvSpPr>
          <p:spPr>
            <a:xfrm>
              <a:off x="10651274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0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0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40FAFD15-3F82-4DC8-9636-0E3300160E51}"/>
                </a:ext>
              </a:extLst>
            </p:cNvPr>
            <p:cNvSpPr/>
            <p:nvPr/>
          </p:nvSpPr>
          <p:spPr>
            <a:xfrm>
              <a:off x="10480451" y="3191002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859A618E-14D7-464D-82D6-2FEDD6C8CF8E}"/>
                </a:ext>
              </a:extLst>
            </p:cNvPr>
            <p:cNvSpPr/>
            <p:nvPr/>
          </p:nvSpPr>
          <p:spPr>
            <a:xfrm>
              <a:off x="10310898" y="2952868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9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9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D34519AE-F698-4D70-A61E-89409218FBF5}"/>
                </a:ext>
              </a:extLst>
            </p:cNvPr>
            <p:cNvSpPr/>
            <p:nvPr/>
          </p:nvSpPr>
          <p:spPr>
            <a:xfrm>
              <a:off x="10479816" y="2481044"/>
              <a:ext cx="166377" cy="229244"/>
            </a:xfrm>
            <a:custGeom>
              <a:avLst/>
              <a:gdLst>
                <a:gd name="connsiteX0" fmla="*/ 0 w 166377"/>
                <a:gd name="connsiteY0" fmla="*/ 114939 h 229244"/>
                <a:gd name="connsiteX1" fmla="*/ 166378 w 166377"/>
                <a:gd name="connsiteY1" fmla="*/ 0 h 229244"/>
                <a:gd name="connsiteX2" fmla="*/ 166378 w 166377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244">
                  <a:moveTo>
                    <a:pt x="0" y="114939"/>
                  </a:moveTo>
                  <a:lnTo>
                    <a:pt x="166378" y="0"/>
                  </a:lnTo>
                  <a:lnTo>
                    <a:pt x="166378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B7BF7F4B-8AA0-4A00-9937-617DA37B40E5}"/>
                </a:ext>
              </a:extLst>
            </p:cNvPr>
            <p:cNvSpPr/>
            <p:nvPr/>
          </p:nvSpPr>
          <p:spPr>
            <a:xfrm>
              <a:off x="10649369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A9D6433D-B79B-4FCD-BE3A-AEAF1FBACF68}"/>
                </a:ext>
              </a:extLst>
            </p:cNvPr>
            <p:cNvSpPr/>
            <p:nvPr/>
          </p:nvSpPr>
          <p:spPr>
            <a:xfrm>
              <a:off x="10651274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0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415A1B2E-B04A-48AA-BAAE-3B3351F0A82A}"/>
                </a:ext>
              </a:extLst>
            </p:cNvPr>
            <p:cNvSpPr/>
            <p:nvPr/>
          </p:nvSpPr>
          <p:spPr>
            <a:xfrm>
              <a:off x="10480451" y="1771720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B0BAE090-F6AD-4E9C-90E1-1D722EB7FB0D}"/>
                </a:ext>
              </a:extLst>
            </p:cNvPr>
            <p:cNvSpPr/>
            <p:nvPr/>
          </p:nvSpPr>
          <p:spPr>
            <a:xfrm>
              <a:off x="9968617" y="2007950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7700CD84-67F2-4A1C-BBF7-9B61332445FE}"/>
                </a:ext>
              </a:extLst>
            </p:cNvPr>
            <p:cNvSpPr/>
            <p:nvPr/>
          </p:nvSpPr>
          <p:spPr>
            <a:xfrm>
              <a:off x="9970522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7C3D6DA5-6646-427C-BBCC-B6D6CC4A2459}"/>
                </a:ext>
              </a:extLst>
            </p:cNvPr>
            <p:cNvSpPr/>
            <p:nvPr/>
          </p:nvSpPr>
          <p:spPr>
            <a:xfrm>
              <a:off x="9800334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947F097E-5035-4E3B-AE70-EE0B1439B9D9}"/>
                </a:ext>
              </a:extLst>
            </p:cNvPr>
            <p:cNvSpPr/>
            <p:nvPr/>
          </p:nvSpPr>
          <p:spPr>
            <a:xfrm>
              <a:off x="9288500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090DF782-79E2-45E2-9B01-858C50E5A428}"/>
                </a:ext>
              </a:extLst>
            </p:cNvPr>
            <p:cNvSpPr/>
            <p:nvPr/>
          </p:nvSpPr>
          <p:spPr>
            <a:xfrm>
              <a:off x="9289770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C0D2BA6E-3D63-4AB6-8788-D7921B4F81A0}"/>
                </a:ext>
              </a:extLst>
            </p:cNvPr>
            <p:cNvSpPr/>
            <p:nvPr/>
          </p:nvSpPr>
          <p:spPr>
            <a:xfrm>
              <a:off x="9119582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4408B3B7-2C21-4298-87CB-FA9098B2B410}"/>
                </a:ext>
              </a:extLst>
            </p:cNvPr>
            <p:cNvSpPr/>
            <p:nvPr/>
          </p:nvSpPr>
          <p:spPr>
            <a:xfrm>
              <a:off x="8607749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219839A4-95CD-4552-A7B0-55E8374B1232}"/>
                </a:ext>
              </a:extLst>
            </p:cNvPr>
            <p:cNvSpPr/>
            <p:nvPr/>
          </p:nvSpPr>
          <p:spPr>
            <a:xfrm>
              <a:off x="8609018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D418929C-34D4-4B95-A6D4-80BC0B831CC4}"/>
                </a:ext>
              </a:extLst>
            </p:cNvPr>
            <p:cNvSpPr/>
            <p:nvPr/>
          </p:nvSpPr>
          <p:spPr>
            <a:xfrm>
              <a:off x="8438830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1336C3F2-3788-4ED5-8F0B-459432342994}"/>
                </a:ext>
              </a:extLst>
            </p:cNvPr>
            <p:cNvSpPr/>
            <p:nvPr/>
          </p:nvSpPr>
          <p:spPr>
            <a:xfrm>
              <a:off x="7926997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6C381483-6210-4302-A8A8-F491FF4BE6D9}"/>
                </a:ext>
              </a:extLst>
            </p:cNvPr>
            <p:cNvSpPr/>
            <p:nvPr/>
          </p:nvSpPr>
          <p:spPr>
            <a:xfrm>
              <a:off x="7928267" y="1888565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4313E68E-E8CB-4FD5-879C-34E2BEA55701}"/>
                </a:ext>
              </a:extLst>
            </p:cNvPr>
            <p:cNvSpPr/>
            <p:nvPr/>
          </p:nvSpPr>
          <p:spPr>
            <a:xfrm>
              <a:off x="7758079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CEE71169-B49C-4DF0-BD2D-35742295D3AE}"/>
                </a:ext>
              </a:extLst>
            </p:cNvPr>
            <p:cNvSpPr/>
            <p:nvPr/>
          </p:nvSpPr>
          <p:spPr>
            <a:xfrm>
              <a:off x="7246245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3B4411D5-237C-4D18-A7A1-326672BA05CD}"/>
                </a:ext>
              </a:extLst>
            </p:cNvPr>
            <p:cNvSpPr/>
            <p:nvPr/>
          </p:nvSpPr>
          <p:spPr>
            <a:xfrm>
              <a:off x="7247515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921E176D-AC97-499E-8222-13466B445949}"/>
                </a:ext>
              </a:extLst>
            </p:cNvPr>
            <p:cNvSpPr/>
            <p:nvPr/>
          </p:nvSpPr>
          <p:spPr>
            <a:xfrm>
              <a:off x="7077327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4DE4495B-A63C-44F6-B00B-648F7D3D39EC}"/>
                </a:ext>
              </a:extLst>
            </p:cNvPr>
            <p:cNvSpPr/>
            <p:nvPr/>
          </p:nvSpPr>
          <p:spPr>
            <a:xfrm>
              <a:off x="6565493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81FFEF8B-32D5-441E-9096-E84DC45C47B8}"/>
                </a:ext>
              </a:extLst>
            </p:cNvPr>
            <p:cNvSpPr/>
            <p:nvPr/>
          </p:nvSpPr>
          <p:spPr>
            <a:xfrm>
              <a:off x="6566763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CC2AC9E3-847C-470C-BF9A-1710815186F6}"/>
                </a:ext>
              </a:extLst>
            </p:cNvPr>
            <p:cNvSpPr/>
            <p:nvPr/>
          </p:nvSpPr>
          <p:spPr>
            <a:xfrm>
              <a:off x="6396575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87989E59-BF15-41FA-A1AA-2ACD42F0D8D0}"/>
                </a:ext>
              </a:extLst>
            </p:cNvPr>
            <p:cNvSpPr/>
            <p:nvPr/>
          </p:nvSpPr>
          <p:spPr>
            <a:xfrm>
              <a:off x="5884741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FCE73372-C137-4EEB-BE02-689E65EADDD2}"/>
                </a:ext>
              </a:extLst>
            </p:cNvPr>
            <p:cNvSpPr/>
            <p:nvPr/>
          </p:nvSpPr>
          <p:spPr>
            <a:xfrm>
              <a:off x="5886011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0DA39390-856C-4EBA-857B-29E88802B8E2}"/>
                </a:ext>
              </a:extLst>
            </p:cNvPr>
            <p:cNvSpPr/>
            <p:nvPr/>
          </p:nvSpPr>
          <p:spPr>
            <a:xfrm>
              <a:off x="5715823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AEA0E781-D6C0-49FD-9A78-6B92499F47F1}"/>
                </a:ext>
              </a:extLst>
            </p:cNvPr>
            <p:cNvSpPr/>
            <p:nvPr/>
          </p:nvSpPr>
          <p:spPr>
            <a:xfrm>
              <a:off x="10820192" y="3190367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9290B643-9950-461D-9380-4F69D7177E69}"/>
                </a:ext>
              </a:extLst>
            </p:cNvPr>
            <p:cNvSpPr/>
            <p:nvPr/>
          </p:nvSpPr>
          <p:spPr>
            <a:xfrm>
              <a:off x="10820192" y="1771085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DA490AAC-BEB9-499E-9AEE-67664785080C}"/>
                </a:ext>
              </a:extLst>
            </p:cNvPr>
            <p:cNvSpPr/>
            <p:nvPr/>
          </p:nvSpPr>
          <p:spPr>
            <a:xfrm>
              <a:off x="10139440" y="1771085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220652E1-B7E6-4504-9612-BEEC1FACCED1}"/>
                </a:ext>
              </a:extLst>
            </p:cNvPr>
            <p:cNvSpPr/>
            <p:nvPr/>
          </p:nvSpPr>
          <p:spPr>
            <a:xfrm>
              <a:off x="9459323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D225F6D3-36FA-4C22-B82B-F6CE4A928651}"/>
                </a:ext>
              </a:extLst>
            </p:cNvPr>
            <p:cNvSpPr/>
            <p:nvPr/>
          </p:nvSpPr>
          <p:spPr>
            <a:xfrm>
              <a:off x="8778571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15E443DA-BF7B-4ABC-BAF6-79733290503A}"/>
                </a:ext>
              </a:extLst>
            </p:cNvPr>
            <p:cNvSpPr/>
            <p:nvPr/>
          </p:nvSpPr>
          <p:spPr>
            <a:xfrm>
              <a:off x="8097819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B6CBC8DD-2784-46D7-AE99-6AE7952F289D}"/>
                </a:ext>
              </a:extLst>
            </p:cNvPr>
            <p:cNvSpPr/>
            <p:nvPr/>
          </p:nvSpPr>
          <p:spPr>
            <a:xfrm>
              <a:off x="7417068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3C3E7E2C-FB24-41FA-A72E-43E3E516C424}"/>
                </a:ext>
              </a:extLst>
            </p:cNvPr>
            <p:cNvSpPr/>
            <p:nvPr/>
          </p:nvSpPr>
          <p:spPr>
            <a:xfrm>
              <a:off x="6736316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B9EB99CF-0F22-44C6-B263-2CDDBC1C1FB1}"/>
                </a:ext>
              </a:extLst>
            </p:cNvPr>
            <p:cNvSpPr/>
            <p:nvPr/>
          </p:nvSpPr>
          <p:spPr>
            <a:xfrm>
              <a:off x="6055564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FB2483BC-80A4-4233-9B1E-919CA86D71F3}"/>
                </a:ext>
              </a:extLst>
            </p:cNvPr>
            <p:cNvSpPr/>
            <p:nvPr/>
          </p:nvSpPr>
          <p:spPr>
            <a:xfrm>
              <a:off x="10651274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6565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5 w 673766"/>
                <a:gd name="connsiteY4" fmla="*/ 0 h 351168"/>
                <a:gd name="connsiteX5" fmla="*/ 673767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6565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5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78F5CEB4-1AD8-499E-A38B-43F0A704EA12}"/>
                </a:ext>
              </a:extLst>
            </p:cNvPr>
            <p:cNvSpPr/>
            <p:nvPr/>
          </p:nvSpPr>
          <p:spPr>
            <a:xfrm>
              <a:off x="10991650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5088C5F7-92F4-4DC1-87BD-BEF5C87A3675}"/>
                </a:ext>
              </a:extLst>
            </p:cNvPr>
            <p:cNvSpPr/>
            <p:nvPr/>
          </p:nvSpPr>
          <p:spPr>
            <a:xfrm>
              <a:off x="10820827" y="2481679"/>
              <a:ext cx="333390" cy="463568"/>
            </a:xfrm>
            <a:custGeom>
              <a:avLst/>
              <a:gdLst>
                <a:gd name="connsiteX0" fmla="*/ 166377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2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2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3F2885F5-C46D-4388-BA77-9E6DC869D443}"/>
                </a:ext>
              </a:extLst>
            </p:cNvPr>
            <p:cNvSpPr/>
            <p:nvPr/>
          </p:nvSpPr>
          <p:spPr>
            <a:xfrm>
              <a:off x="10651274" y="2242909"/>
              <a:ext cx="673766" cy="351804"/>
            </a:xfrm>
            <a:custGeom>
              <a:avLst/>
              <a:gdLst>
                <a:gd name="connsiteX0" fmla="*/ 337836 w 673766"/>
                <a:gd name="connsiteY0" fmla="*/ 234959 h 351804"/>
                <a:gd name="connsiteX1" fmla="*/ 336565 w 673766"/>
                <a:gd name="connsiteY1" fmla="*/ 234324 h 351804"/>
                <a:gd name="connsiteX2" fmla="*/ 168283 w 673766"/>
                <a:gd name="connsiteY2" fmla="*/ 351804 h 351804"/>
                <a:gd name="connsiteX3" fmla="*/ 0 w 673766"/>
                <a:gd name="connsiteY3" fmla="*/ 234324 h 351804"/>
                <a:gd name="connsiteX4" fmla="*/ 336565 w 673766"/>
                <a:gd name="connsiteY4" fmla="*/ 0 h 351804"/>
                <a:gd name="connsiteX5" fmla="*/ 673767 w 673766"/>
                <a:gd name="connsiteY5" fmla="*/ 234324 h 351804"/>
                <a:gd name="connsiteX6" fmla="*/ 506119 w 673766"/>
                <a:gd name="connsiteY6" fmla="*/ 351169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836" y="234959"/>
                  </a:moveTo>
                  <a:lnTo>
                    <a:pt x="336565" y="234324"/>
                  </a:lnTo>
                  <a:lnTo>
                    <a:pt x="168283" y="351804"/>
                  </a:lnTo>
                  <a:lnTo>
                    <a:pt x="0" y="234324"/>
                  </a:lnTo>
                  <a:lnTo>
                    <a:pt x="336565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5394838C-726B-4536-AB33-8679196F9964}"/>
                </a:ext>
              </a:extLst>
            </p:cNvPr>
            <p:cNvSpPr/>
            <p:nvPr/>
          </p:nvSpPr>
          <p:spPr>
            <a:xfrm>
              <a:off x="10991650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BDA7FED4-F82B-44FF-802B-8EF65B1F7331}"/>
                </a:ext>
              </a:extLst>
            </p:cNvPr>
            <p:cNvSpPr/>
            <p:nvPr/>
          </p:nvSpPr>
          <p:spPr>
            <a:xfrm>
              <a:off x="10820827" y="1062397"/>
              <a:ext cx="333390" cy="463568"/>
            </a:xfrm>
            <a:custGeom>
              <a:avLst/>
              <a:gdLst>
                <a:gd name="connsiteX0" fmla="*/ 166377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2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2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726A0C84-2204-49BA-93D7-3B3248D345FC}"/>
                </a:ext>
              </a:extLst>
            </p:cNvPr>
            <p:cNvSpPr/>
            <p:nvPr/>
          </p:nvSpPr>
          <p:spPr>
            <a:xfrm>
              <a:off x="10308993" y="1297991"/>
              <a:ext cx="337201" cy="466108"/>
            </a:xfrm>
            <a:custGeom>
              <a:avLst/>
              <a:gdLst>
                <a:gd name="connsiteX0" fmla="*/ 337201 w 337201"/>
                <a:gd name="connsiteY0" fmla="*/ 232419 h 466108"/>
                <a:gd name="connsiteX1" fmla="*/ 0 w 337201"/>
                <a:gd name="connsiteY1" fmla="*/ 466109 h 466108"/>
                <a:gd name="connsiteX2" fmla="*/ 0 w 337201"/>
                <a:gd name="connsiteY2" fmla="*/ 232419 h 466108"/>
                <a:gd name="connsiteX3" fmla="*/ 337201 w 337201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1" h="466108">
                  <a:moveTo>
                    <a:pt x="337201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3E635761-188E-4625-90AE-2D5178BA45DC}"/>
                </a:ext>
              </a:extLst>
            </p:cNvPr>
            <p:cNvSpPr/>
            <p:nvPr/>
          </p:nvSpPr>
          <p:spPr>
            <a:xfrm>
              <a:off x="10310898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A013CB7C-B780-4CE5-9AF9-DDEB0A3F5C34}"/>
                </a:ext>
              </a:extLst>
            </p:cNvPr>
            <p:cNvSpPr/>
            <p:nvPr/>
          </p:nvSpPr>
          <p:spPr>
            <a:xfrm>
              <a:off x="10140075" y="1062397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EC46F22E-EDE5-406E-AAA7-6233187D2EC7}"/>
                </a:ext>
              </a:extLst>
            </p:cNvPr>
            <p:cNvSpPr/>
            <p:nvPr/>
          </p:nvSpPr>
          <p:spPr>
            <a:xfrm>
              <a:off x="9628876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0D4704EB-2CC1-462A-921E-CD5419C9E24B}"/>
                </a:ext>
              </a:extLst>
            </p:cNvPr>
            <p:cNvSpPr/>
            <p:nvPr/>
          </p:nvSpPr>
          <p:spPr>
            <a:xfrm>
              <a:off x="9630146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92241306-BF89-4574-B30E-A1A971C89A53}"/>
                </a:ext>
              </a:extLst>
            </p:cNvPr>
            <p:cNvSpPr/>
            <p:nvPr/>
          </p:nvSpPr>
          <p:spPr>
            <a:xfrm>
              <a:off x="9459958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1CD47B2E-C8D0-4134-9147-ECB9963C8C44}"/>
                </a:ext>
              </a:extLst>
            </p:cNvPr>
            <p:cNvSpPr/>
            <p:nvPr/>
          </p:nvSpPr>
          <p:spPr>
            <a:xfrm>
              <a:off x="8948124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092E866A-9225-4A8A-BEB7-F5E6E8C1869A}"/>
                </a:ext>
              </a:extLst>
            </p:cNvPr>
            <p:cNvSpPr/>
            <p:nvPr/>
          </p:nvSpPr>
          <p:spPr>
            <a:xfrm>
              <a:off x="8949395" y="1179242"/>
              <a:ext cx="334025" cy="231149"/>
            </a:xfrm>
            <a:custGeom>
              <a:avLst/>
              <a:gdLst>
                <a:gd name="connsiteX0" fmla="*/ 165743 w 334025"/>
                <a:gd name="connsiteY0" fmla="*/ 231149 h 231149"/>
                <a:gd name="connsiteX1" fmla="*/ 0 w 334025"/>
                <a:gd name="connsiteY1" fmla="*/ 115575 h 231149"/>
                <a:gd name="connsiteX2" fmla="*/ 165743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09B61E4C-45CC-43BA-90D7-AB847D38D22F}"/>
                </a:ext>
              </a:extLst>
            </p:cNvPr>
            <p:cNvSpPr/>
            <p:nvPr/>
          </p:nvSpPr>
          <p:spPr>
            <a:xfrm>
              <a:off x="8779207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9EE45501-7DCF-46F9-BA13-A83F9FB43407}"/>
                </a:ext>
              </a:extLst>
            </p:cNvPr>
            <p:cNvSpPr/>
            <p:nvPr/>
          </p:nvSpPr>
          <p:spPr>
            <a:xfrm>
              <a:off x="8267372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C2974C81-C3B4-4067-885A-EC5F81D45CD4}"/>
                </a:ext>
              </a:extLst>
            </p:cNvPr>
            <p:cNvSpPr/>
            <p:nvPr/>
          </p:nvSpPr>
          <p:spPr>
            <a:xfrm>
              <a:off x="8268643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680B1282-20E7-4731-B2CD-7C7DF50BDA07}"/>
                </a:ext>
              </a:extLst>
            </p:cNvPr>
            <p:cNvSpPr/>
            <p:nvPr/>
          </p:nvSpPr>
          <p:spPr>
            <a:xfrm>
              <a:off x="8098455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78C85A5E-7E0D-47FB-A598-6F70F9891DB7}"/>
                </a:ext>
              </a:extLst>
            </p:cNvPr>
            <p:cNvSpPr/>
            <p:nvPr/>
          </p:nvSpPr>
          <p:spPr>
            <a:xfrm>
              <a:off x="7586621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6CABB3E5-402A-4B25-9D9A-FD54CA7A36F2}"/>
                </a:ext>
              </a:extLst>
            </p:cNvPr>
            <p:cNvSpPr/>
            <p:nvPr/>
          </p:nvSpPr>
          <p:spPr>
            <a:xfrm>
              <a:off x="7587891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0C542B77-63FE-418B-A1A0-9978155FBDCE}"/>
                </a:ext>
              </a:extLst>
            </p:cNvPr>
            <p:cNvSpPr/>
            <p:nvPr/>
          </p:nvSpPr>
          <p:spPr>
            <a:xfrm>
              <a:off x="7417703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32DF6234-64A4-4B88-8EF7-9A539C72ABD2}"/>
                </a:ext>
              </a:extLst>
            </p:cNvPr>
            <p:cNvSpPr/>
            <p:nvPr/>
          </p:nvSpPr>
          <p:spPr>
            <a:xfrm>
              <a:off x="6905869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C54CCAC2-A35C-4AB0-8A64-4968297D3AD6}"/>
                </a:ext>
              </a:extLst>
            </p:cNvPr>
            <p:cNvSpPr/>
            <p:nvPr/>
          </p:nvSpPr>
          <p:spPr>
            <a:xfrm>
              <a:off x="6907139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1D96D526-5571-48C4-A259-68DB0A45051D}"/>
                </a:ext>
              </a:extLst>
            </p:cNvPr>
            <p:cNvSpPr/>
            <p:nvPr/>
          </p:nvSpPr>
          <p:spPr>
            <a:xfrm>
              <a:off x="6736951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240058E2-1BD2-4B3C-B2E7-D838D04B2CA2}"/>
                </a:ext>
              </a:extLst>
            </p:cNvPr>
            <p:cNvSpPr/>
            <p:nvPr/>
          </p:nvSpPr>
          <p:spPr>
            <a:xfrm>
              <a:off x="6225117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959E3BF7-64ED-4426-AC4E-6731927E7617}"/>
                </a:ext>
              </a:extLst>
            </p:cNvPr>
            <p:cNvSpPr/>
            <p:nvPr/>
          </p:nvSpPr>
          <p:spPr>
            <a:xfrm>
              <a:off x="6226387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8F54D794-6812-4314-AD84-B2E78A4AA269}"/>
                </a:ext>
              </a:extLst>
            </p:cNvPr>
            <p:cNvSpPr/>
            <p:nvPr/>
          </p:nvSpPr>
          <p:spPr>
            <a:xfrm>
              <a:off x="6056199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12D4095E-CC9A-43A8-B97D-B8AB56121FB3}"/>
                </a:ext>
              </a:extLst>
            </p:cNvPr>
            <p:cNvSpPr/>
            <p:nvPr userDrawn="1"/>
          </p:nvSpPr>
          <p:spPr>
            <a:xfrm>
              <a:off x="10989745" y="3190367"/>
              <a:ext cx="337200" cy="702973"/>
            </a:xfrm>
            <a:custGeom>
              <a:avLst/>
              <a:gdLst>
                <a:gd name="connsiteX0" fmla="*/ 0 w 337200"/>
                <a:gd name="connsiteY0" fmla="*/ 468649 h 702973"/>
                <a:gd name="connsiteX1" fmla="*/ 0 w 337200"/>
                <a:gd name="connsiteY1" fmla="*/ 0 h 702973"/>
                <a:gd name="connsiteX2" fmla="*/ 168283 w 337200"/>
                <a:gd name="connsiteY2" fmla="*/ 116845 h 702973"/>
                <a:gd name="connsiteX3" fmla="*/ 168283 w 337200"/>
                <a:gd name="connsiteY3" fmla="*/ 351804 h 702973"/>
                <a:gd name="connsiteX4" fmla="*/ 337201 w 337200"/>
                <a:gd name="connsiteY4" fmla="*/ 468649 h 702973"/>
                <a:gd name="connsiteX5" fmla="*/ 337201 w 337200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973">
                  <a:moveTo>
                    <a:pt x="0" y="468649"/>
                  </a:moveTo>
                  <a:lnTo>
                    <a:pt x="0" y="0"/>
                  </a:lnTo>
                  <a:lnTo>
                    <a:pt x="168283" y="116845"/>
                  </a:lnTo>
                  <a:lnTo>
                    <a:pt x="168283" y="351804"/>
                  </a:lnTo>
                  <a:lnTo>
                    <a:pt x="337201" y="468649"/>
                  </a:lnTo>
                  <a:lnTo>
                    <a:pt x="337201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B12A6A38-0654-478A-A931-1CF9A44B5FB1}"/>
                </a:ext>
              </a:extLst>
            </p:cNvPr>
            <p:cNvSpPr/>
            <p:nvPr/>
          </p:nvSpPr>
          <p:spPr>
            <a:xfrm>
              <a:off x="11330121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19A9F654-709E-42A1-BBBA-A54688DB4E39}"/>
                </a:ext>
              </a:extLst>
            </p:cNvPr>
            <p:cNvSpPr/>
            <p:nvPr/>
          </p:nvSpPr>
          <p:spPr>
            <a:xfrm>
              <a:off x="11331391" y="3307847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4 h 231149"/>
                <a:gd name="connsiteX2" fmla="*/ 166377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4"/>
                  </a:lnTo>
                  <a:lnTo>
                    <a:pt x="166377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CFD0CCE2-EF48-427C-9F99-EBAAB8641F3B}"/>
                </a:ext>
              </a:extLst>
            </p:cNvPr>
            <p:cNvSpPr/>
            <p:nvPr/>
          </p:nvSpPr>
          <p:spPr>
            <a:xfrm>
              <a:off x="11161203" y="3191002"/>
              <a:ext cx="333390" cy="463568"/>
            </a:xfrm>
            <a:custGeom>
              <a:avLst/>
              <a:gdLst>
                <a:gd name="connsiteX0" fmla="*/ 166377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D6F113D6-755E-4281-9986-739A705A355C}"/>
                </a:ext>
              </a:extLst>
            </p:cNvPr>
            <p:cNvSpPr/>
            <p:nvPr userDrawn="1"/>
          </p:nvSpPr>
          <p:spPr>
            <a:xfrm>
              <a:off x="10991650" y="2952868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7647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8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8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288D58B7-DB17-4A8B-94E1-CC68C3FB8024}"/>
                </a:ext>
              </a:extLst>
            </p:cNvPr>
            <p:cNvSpPr/>
            <p:nvPr/>
          </p:nvSpPr>
          <p:spPr>
            <a:xfrm>
              <a:off x="11160568" y="2481044"/>
              <a:ext cx="165742" cy="229244"/>
            </a:xfrm>
            <a:custGeom>
              <a:avLst/>
              <a:gdLst>
                <a:gd name="connsiteX0" fmla="*/ 0 w 165742"/>
                <a:gd name="connsiteY0" fmla="*/ 114939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39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E8EB7E8E-9AC5-4207-B9FA-AA323C470FD7}"/>
                </a:ext>
              </a:extLst>
            </p:cNvPr>
            <p:cNvSpPr/>
            <p:nvPr/>
          </p:nvSpPr>
          <p:spPr>
            <a:xfrm>
              <a:off x="10989745" y="1771720"/>
              <a:ext cx="337200" cy="702338"/>
            </a:xfrm>
            <a:custGeom>
              <a:avLst/>
              <a:gdLst>
                <a:gd name="connsiteX0" fmla="*/ 0 w 337200"/>
                <a:gd name="connsiteY0" fmla="*/ 468014 h 702338"/>
                <a:gd name="connsiteX1" fmla="*/ 0 w 337200"/>
                <a:gd name="connsiteY1" fmla="*/ 0 h 702338"/>
                <a:gd name="connsiteX2" fmla="*/ 168283 w 337200"/>
                <a:gd name="connsiteY2" fmla="*/ 116210 h 702338"/>
                <a:gd name="connsiteX3" fmla="*/ 168283 w 337200"/>
                <a:gd name="connsiteY3" fmla="*/ 351169 h 702338"/>
                <a:gd name="connsiteX4" fmla="*/ 337201 w 337200"/>
                <a:gd name="connsiteY4" fmla="*/ 468649 h 702338"/>
                <a:gd name="connsiteX5" fmla="*/ 337201 w 337200"/>
                <a:gd name="connsiteY5" fmla="*/ 702338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0" y="468014"/>
                  </a:moveTo>
                  <a:lnTo>
                    <a:pt x="0" y="0"/>
                  </a:lnTo>
                  <a:lnTo>
                    <a:pt x="168283" y="116210"/>
                  </a:ln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FA0DACF7-07A8-49A1-94EA-BB4318E13B87}"/>
                </a:ext>
              </a:extLst>
            </p:cNvPr>
            <p:cNvSpPr/>
            <p:nvPr/>
          </p:nvSpPr>
          <p:spPr>
            <a:xfrm>
              <a:off x="11330121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97B55E4B-5A47-4648-A4B4-F8B8100F7CF4}"/>
                </a:ext>
              </a:extLst>
            </p:cNvPr>
            <p:cNvSpPr/>
            <p:nvPr/>
          </p:nvSpPr>
          <p:spPr>
            <a:xfrm>
              <a:off x="11332026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2D35E042-5FDC-4D40-9460-DB46EF1984D9}"/>
                </a:ext>
              </a:extLst>
            </p:cNvPr>
            <p:cNvSpPr/>
            <p:nvPr/>
          </p:nvSpPr>
          <p:spPr>
            <a:xfrm>
              <a:off x="11161203" y="1771720"/>
              <a:ext cx="333390" cy="463568"/>
            </a:xfrm>
            <a:custGeom>
              <a:avLst/>
              <a:gdLst>
                <a:gd name="connsiteX0" fmla="*/ 166377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353C1B0E-0D87-4024-A2D3-7B16F275421F}"/>
                </a:ext>
              </a:extLst>
            </p:cNvPr>
            <p:cNvSpPr/>
            <p:nvPr/>
          </p:nvSpPr>
          <p:spPr>
            <a:xfrm>
              <a:off x="10991650" y="1533586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7647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8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8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1208F0FD-CB69-4D4C-B21E-5748A3029F4D}"/>
                </a:ext>
              </a:extLst>
            </p:cNvPr>
            <p:cNvSpPr/>
            <p:nvPr/>
          </p:nvSpPr>
          <p:spPr>
            <a:xfrm>
              <a:off x="1116056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EA306DBC-4A6E-40F1-8A3C-F4BA4B73F445}"/>
                </a:ext>
              </a:extLst>
            </p:cNvPr>
            <p:cNvSpPr/>
            <p:nvPr/>
          </p:nvSpPr>
          <p:spPr>
            <a:xfrm>
              <a:off x="10479816" y="1061762"/>
              <a:ext cx="166377" cy="229244"/>
            </a:xfrm>
            <a:custGeom>
              <a:avLst/>
              <a:gdLst>
                <a:gd name="connsiteX0" fmla="*/ 166378 w 166377"/>
                <a:gd name="connsiteY0" fmla="*/ 229244 h 229244"/>
                <a:gd name="connsiteX1" fmla="*/ 0 w 166377"/>
                <a:gd name="connsiteY1" fmla="*/ 114940 h 229244"/>
                <a:gd name="connsiteX2" fmla="*/ 166378 w 166377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244">
                  <a:moveTo>
                    <a:pt x="166378" y="229244"/>
                  </a:moveTo>
                  <a:lnTo>
                    <a:pt x="0" y="114940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70C0CD80-1873-48B5-95AF-529A9754991F}"/>
                </a:ext>
              </a:extLst>
            </p:cNvPr>
            <p:cNvSpPr/>
            <p:nvPr/>
          </p:nvSpPr>
          <p:spPr>
            <a:xfrm>
              <a:off x="9799699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377B49AE-C42C-4EA0-930C-C00692BCED13}"/>
                </a:ext>
              </a:extLst>
            </p:cNvPr>
            <p:cNvSpPr/>
            <p:nvPr/>
          </p:nvSpPr>
          <p:spPr>
            <a:xfrm>
              <a:off x="911894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76EDEDC9-4DA7-40D8-96D2-7CBA0CD5FDDE}"/>
                </a:ext>
              </a:extLst>
            </p:cNvPr>
            <p:cNvSpPr/>
            <p:nvPr/>
          </p:nvSpPr>
          <p:spPr>
            <a:xfrm>
              <a:off x="8438196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27E136DA-DD4E-496F-86CB-6E657B23CCB8}"/>
                </a:ext>
              </a:extLst>
            </p:cNvPr>
            <p:cNvSpPr/>
            <p:nvPr/>
          </p:nvSpPr>
          <p:spPr>
            <a:xfrm>
              <a:off x="7757444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D02B0CB8-D8F5-456C-BAF1-2CDECFC4C3AF}"/>
                </a:ext>
              </a:extLst>
            </p:cNvPr>
            <p:cNvSpPr/>
            <p:nvPr/>
          </p:nvSpPr>
          <p:spPr>
            <a:xfrm>
              <a:off x="7076692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213B9934-BED1-4524-A498-049661102B40}"/>
                </a:ext>
              </a:extLst>
            </p:cNvPr>
            <p:cNvSpPr/>
            <p:nvPr/>
          </p:nvSpPr>
          <p:spPr>
            <a:xfrm>
              <a:off x="6395940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7BEB4C63-1A68-4CF2-8C24-2C5065C42B07}"/>
                </a:ext>
              </a:extLst>
            </p:cNvPr>
            <p:cNvSpPr/>
            <p:nvPr/>
          </p:nvSpPr>
          <p:spPr>
            <a:xfrm>
              <a:off x="571518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9C3BF88E-3750-45C8-A061-E715298B5ADA}"/>
                </a:ext>
              </a:extLst>
            </p:cNvPr>
            <p:cNvSpPr/>
            <p:nvPr/>
          </p:nvSpPr>
          <p:spPr>
            <a:xfrm>
              <a:off x="11500944" y="3190367"/>
              <a:ext cx="165742" cy="229879"/>
            </a:xfrm>
            <a:custGeom>
              <a:avLst/>
              <a:gdLst>
                <a:gd name="connsiteX0" fmla="*/ 0 w 165742"/>
                <a:gd name="connsiteY0" fmla="*/ 115575 h 229879"/>
                <a:gd name="connsiteX1" fmla="*/ 165743 w 165742"/>
                <a:gd name="connsiteY1" fmla="*/ 0 h 229879"/>
                <a:gd name="connsiteX2" fmla="*/ 165743 w 165742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0" y="115575"/>
                  </a:moveTo>
                  <a:lnTo>
                    <a:pt x="165743" y="0"/>
                  </a:lnTo>
                  <a:lnTo>
                    <a:pt x="165743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C6FBBE5A-F397-4A06-BAAE-5C63E9F56712}"/>
                </a:ext>
              </a:extLst>
            </p:cNvPr>
            <p:cNvSpPr/>
            <p:nvPr/>
          </p:nvSpPr>
          <p:spPr>
            <a:xfrm>
              <a:off x="11500944" y="1771085"/>
              <a:ext cx="165742" cy="229879"/>
            </a:xfrm>
            <a:custGeom>
              <a:avLst/>
              <a:gdLst>
                <a:gd name="connsiteX0" fmla="*/ 0 w 165742"/>
                <a:gd name="connsiteY0" fmla="*/ 115575 h 229879"/>
                <a:gd name="connsiteX1" fmla="*/ 165743 w 165742"/>
                <a:gd name="connsiteY1" fmla="*/ 0 h 229879"/>
                <a:gd name="connsiteX2" fmla="*/ 165743 w 165742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0" y="115575"/>
                  </a:moveTo>
                  <a:lnTo>
                    <a:pt x="165743" y="0"/>
                  </a:lnTo>
                  <a:lnTo>
                    <a:pt x="165743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8631E268-38E2-4993-82BD-A36EEE17F04D}"/>
                </a:ext>
              </a:extLst>
            </p:cNvPr>
            <p:cNvSpPr/>
            <p:nvPr/>
          </p:nvSpPr>
          <p:spPr>
            <a:xfrm>
              <a:off x="11671767" y="1179242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5 h 231149"/>
                <a:gd name="connsiteX2" fmla="*/ 166377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28533AA8-92C8-46B1-9567-02527BACAA79}"/>
                </a:ext>
              </a:extLst>
            </p:cNvPr>
            <p:cNvSpPr/>
            <p:nvPr/>
          </p:nvSpPr>
          <p:spPr>
            <a:xfrm>
              <a:off x="11501579" y="1062397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EAB24CC8-78E6-4CC9-A33D-D2EE7C9CF921}"/>
                </a:ext>
              </a:extLst>
            </p:cNvPr>
            <p:cNvSpPr/>
            <p:nvPr/>
          </p:nvSpPr>
          <p:spPr>
            <a:xfrm>
              <a:off x="11331391" y="824262"/>
              <a:ext cx="674401" cy="351169"/>
            </a:xfrm>
            <a:custGeom>
              <a:avLst/>
              <a:gdLst>
                <a:gd name="connsiteX0" fmla="*/ 338470 w 674401"/>
                <a:gd name="connsiteY0" fmla="*/ 234324 h 351169"/>
                <a:gd name="connsiteX1" fmla="*/ 337201 w 674401"/>
                <a:gd name="connsiteY1" fmla="*/ 233689 h 351169"/>
                <a:gd name="connsiteX2" fmla="*/ 168283 w 674401"/>
                <a:gd name="connsiteY2" fmla="*/ 351169 h 351169"/>
                <a:gd name="connsiteX3" fmla="*/ 0 w 674401"/>
                <a:gd name="connsiteY3" fmla="*/ 233689 h 351169"/>
                <a:gd name="connsiteX4" fmla="*/ 337201 w 674401"/>
                <a:gd name="connsiteY4" fmla="*/ 0 h 351169"/>
                <a:gd name="connsiteX5" fmla="*/ 674401 w 674401"/>
                <a:gd name="connsiteY5" fmla="*/ 233689 h 351169"/>
                <a:gd name="connsiteX6" fmla="*/ 506753 w 674401"/>
                <a:gd name="connsiteY6" fmla="*/ 35053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8470" y="234324"/>
                  </a:move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lnTo>
                    <a:pt x="337201" y="0"/>
                  </a:lnTo>
                  <a:lnTo>
                    <a:pt x="674401" y="233689"/>
                  </a:lnTo>
                  <a:lnTo>
                    <a:pt x="506753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F71FF9DE-63B5-491B-9E38-500A6B3542FB}"/>
                </a:ext>
              </a:extLst>
            </p:cNvPr>
            <p:cNvSpPr/>
            <p:nvPr/>
          </p:nvSpPr>
          <p:spPr>
            <a:xfrm>
              <a:off x="11330121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38F6A2B3-20B0-4B23-8F7C-5B7C31796F5A}"/>
                </a:ext>
              </a:extLst>
            </p:cNvPr>
            <p:cNvSpPr/>
            <p:nvPr/>
          </p:nvSpPr>
          <p:spPr>
            <a:xfrm>
              <a:off x="11331391" y="469283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619AF764-A941-44E8-AEF1-4D7FECBA0A40}"/>
                </a:ext>
              </a:extLst>
            </p:cNvPr>
            <p:cNvSpPr/>
            <p:nvPr/>
          </p:nvSpPr>
          <p:spPr>
            <a:xfrm>
              <a:off x="11161203" y="352439"/>
              <a:ext cx="333390" cy="464203"/>
            </a:xfrm>
            <a:custGeom>
              <a:avLst/>
              <a:gdLst>
                <a:gd name="connsiteX0" fmla="*/ 166377 w 333390"/>
                <a:gd name="connsiteY0" fmla="*/ 231149 h 464203"/>
                <a:gd name="connsiteX1" fmla="*/ 165743 w 333390"/>
                <a:gd name="connsiteY1" fmla="*/ 231784 h 464203"/>
                <a:gd name="connsiteX2" fmla="*/ 165743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AD9B25C9-F2B6-47EC-AEF7-81B1F4F91993}"/>
                </a:ext>
              </a:extLst>
            </p:cNvPr>
            <p:cNvSpPr/>
            <p:nvPr/>
          </p:nvSpPr>
          <p:spPr>
            <a:xfrm>
              <a:off x="10649369" y="588668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C85E8ED8-8E8F-4A34-B38A-6943F1CFFFE6}"/>
                </a:ext>
              </a:extLst>
            </p:cNvPr>
            <p:cNvSpPr/>
            <p:nvPr/>
          </p:nvSpPr>
          <p:spPr>
            <a:xfrm>
              <a:off x="10651274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0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F1DD2135-868C-4A52-B10A-DCC4100F5FE7}"/>
                </a:ext>
              </a:extLst>
            </p:cNvPr>
            <p:cNvSpPr/>
            <p:nvPr/>
          </p:nvSpPr>
          <p:spPr>
            <a:xfrm>
              <a:off x="10480451" y="352439"/>
              <a:ext cx="333390" cy="464203"/>
            </a:xfrm>
            <a:custGeom>
              <a:avLst/>
              <a:gdLst>
                <a:gd name="connsiteX0" fmla="*/ 166378 w 333390"/>
                <a:gd name="connsiteY0" fmla="*/ 231149 h 464203"/>
                <a:gd name="connsiteX1" fmla="*/ 165743 w 333390"/>
                <a:gd name="connsiteY1" fmla="*/ 231784 h 464203"/>
                <a:gd name="connsiteX2" fmla="*/ 165743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1D8467DC-9828-478B-A9D8-CD3DF612D027}"/>
                </a:ext>
              </a:extLst>
            </p:cNvPr>
            <p:cNvSpPr/>
            <p:nvPr/>
          </p:nvSpPr>
          <p:spPr>
            <a:xfrm>
              <a:off x="9968617" y="588668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01C9BBF7-8F50-42C1-AC9D-783DF95871F8}"/>
                </a:ext>
              </a:extLst>
            </p:cNvPr>
            <p:cNvSpPr/>
            <p:nvPr/>
          </p:nvSpPr>
          <p:spPr>
            <a:xfrm>
              <a:off x="9970522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BA205240-8FAD-4B1B-9D10-7D0DD93F71BE}"/>
                </a:ext>
              </a:extLst>
            </p:cNvPr>
            <p:cNvSpPr/>
            <p:nvPr/>
          </p:nvSpPr>
          <p:spPr>
            <a:xfrm>
              <a:off x="9800334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5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322A5BEE-4B57-4D0E-AF35-89AB8F8DB784}"/>
                </a:ext>
              </a:extLst>
            </p:cNvPr>
            <p:cNvSpPr/>
            <p:nvPr/>
          </p:nvSpPr>
          <p:spPr>
            <a:xfrm>
              <a:off x="9288500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5FEEC27D-23FD-4C40-A68B-D4E12CF89DDE}"/>
                </a:ext>
              </a:extLst>
            </p:cNvPr>
            <p:cNvSpPr/>
            <p:nvPr/>
          </p:nvSpPr>
          <p:spPr>
            <a:xfrm>
              <a:off x="9289770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1B0B939D-F51D-4154-AD24-9EE54D6D4C0D}"/>
                </a:ext>
              </a:extLst>
            </p:cNvPr>
            <p:cNvSpPr/>
            <p:nvPr/>
          </p:nvSpPr>
          <p:spPr>
            <a:xfrm>
              <a:off x="9119582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6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0CA2A3FE-25EB-47BF-BF7E-B541ABD3676D}"/>
                </a:ext>
              </a:extLst>
            </p:cNvPr>
            <p:cNvSpPr/>
            <p:nvPr/>
          </p:nvSpPr>
          <p:spPr>
            <a:xfrm>
              <a:off x="8607749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5ECC458B-B22A-4FE8-8ED4-52551F8B1991}"/>
                </a:ext>
              </a:extLst>
            </p:cNvPr>
            <p:cNvSpPr/>
            <p:nvPr/>
          </p:nvSpPr>
          <p:spPr>
            <a:xfrm>
              <a:off x="8609018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DA0E7B5C-2EA2-43DD-A2A8-FB6B2968FD68}"/>
                </a:ext>
              </a:extLst>
            </p:cNvPr>
            <p:cNvSpPr/>
            <p:nvPr/>
          </p:nvSpPr>
          <p:spPr>
            <a:xfrm>
              <a:off x="8438830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6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8A4AD487-ED68-4120-85B8-C939A00C48FD}"/>
                </a:ext>
              </a:extLst>
            </p:cNvPr>
            <p:cNvSpPr/>
            <p:nvPr/>
          </p:nvSpPr>
          <p:spPr>
            <a:xfrm>
              <a:off x="7926997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20440B16-AAB7-4181-8010-99E1D73992A8}"/>
                </a:ext>
              </a:extLst>
            </p:cNvPr>
            <p:cNvSpPr/>
            <p:nvPr/>
          </p:nvSpPr>
          <p:spPr>
            <a:xfrm>
              <a:off x="7928267" y="469283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BBDBE921-3C27-4DD6-95A6-008B42B1DAD7}"/>
                </a:ext>
              </a:extLst>
            </p:cNvPr>
            <p:cNvSpPr/>
            <p:nvPr/>
          </p:nvSpPr>
          <p:spPr>
            <a:xfrm>
              <a:off x="7758079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2C7BA4D6-8553-4B07-8C99-5F4CF1C1E08E}"/>
                </a:ext>
              </a:extLst>
            </p:cNvPr>
            <p:cNvSpPr/>
            <p:nvPr/>
          </p:nvSpPr>
          <p:spPr>
            <a:xfrm>
              <a:off x="7246245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607DF843-BD19-4F36-803A-B2D1E2F53A4D}"/>
                </a:ext>
              </a:extLst>
            </p:cNvPr>
            <p:cNvSpPr/>
            <p:nvPr/>
          </p:nvSpPr>
          <p:spPr>
            <a:xfrm>
              <a:off x="7247515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A244F2A2-47F2-4F26-B8B3-083FF159DB37}"/>
                </a:ext>
              </a:extLst>
            </p:cNvPr>
            <p:cNvSpPr/>
            <p:nvPr/>
          </p:nvSpPr>
          <p:spPr>
            <a:xfrm>
              <a:off x="7077327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14825A9D-8EC5-4CF7-843E-03DA8BD8CFC7}"/>
                </a:ext>
              </a:extLst>
            </p:cNvPr>
            <p:cNvSpPr/>
            <p:nvPr/>
          </p:nvSpPr>
          <p:spPr>
            <a:xfrm>
              <a:off x="6565493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2BDA321A-68DA-48D8-94DC-D2A114EC17FB}"/>
                </a:ext>
              </a:extLst>
            </p:cNvPr>
            <p:cNvSpPr/>
            <p:nvPr/>
          </p:nvSpPr>
          <p:spPr>
            <a:xfrm>
              <a:off x="6566763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58F5EE14-50AD-4C48-B5AF-19129C00B31F}"/>
                </a:ext>
              </a:extLst>
            </p:cNvPr>
            <p:cNvSpPr/>
            <p:nvPr/>
          </p:nvSpPr>
          <p:spPr>
            <a:xfrm>
              <a:off x="6396575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705B77C8-5815-4FF6-9FD0-5E6D3D6285D5}"/>
                </a:ext>
              </a:extLst>
            </p:cNvPr>
            <p:cNvSpPr/>
            <p:nvPr/>
          </p:nvSpPr>
          <p:spPr>
            <a:xfrm>
              <a:off x="5884741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27F4AA98-C6A3-41D0-A117-5F7B84D4FE7D}"/>
                </a:ext>
              </a:extLst>
            </p:cNvPr>
            <p:cNvSpPr/>
            <p:nvPr/>
          </p:nvSpPr>
          <p:spPr>
            <a:xfrm>
              <a:off x="5886011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26584816-7D52-4E40-ABB6-7DDEF7909140}"/>
                </a:ext>
              </a:extLst>
            </p:cNvPr>
            <p:cNvSpPr/>
            <p:nvPr/>
          </p:nvSpPr>
          <p:spPr>
            <a:xfrm>
              <a:off x="5715823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B8129D41-1CA7-4C41-B1C6-C933F34C45A8}"/>
                </a:ext>
              </a:extLst>
            </p:cNvPr>
            <p:cNvSpPr/>
            <p:nvPr/>
          </p:nvSpPr>
          <p:spPr>
            <a:xfrm>
              <a:off x="11331391" y="3662191"/>
              <a:ext cx="674401" cy="351168"/>
            </a:xfrm>
            <a:custGeom>
              <a:avLst/>
              <a:gdLst>
                <a:gd name="connsiteX0" fmla="*/ 338470 w 674401"/>
                <a:gd name="connsiteY0" fmla="*/ 234959 h 351168"/>
                <a:gd name="connsiteX1" fmla="*/ 337201 w 674401"/>
                <a:gd name="connsiteY1" fmla="*/ 234324 h 351168"/>
                <a:gd name="connsiteX2" fmla="*/ 168283 w 674401"/>
                <a:gd name="connsiteY2" fmla="*/ 351169 h 351168"/>
                <a:gd name="connsiteX3" fmla="*/ 0 w 674401"/>
                <a:gd name="connsiteY3" fmla="*/ 234324 h 351168"/>
                <a:gd name="connsiteX4" fmla="*/ 337201 w 674401"/>
                <a:gd name="connsiteY4" fmla="*/ 0 h 351168"/>
                <a:gd name="connsiteX5" fmla="*/ 674401 w 674401"/>
                <a:gd name="connsiteY5" fmla="*/ 234324 h 351168"/>
                <a:gd name="connsiteX6" fmla="*/ 506753 w 674401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8470" y="234959"/>
                  </a:move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lnTo>
                    <a:pt x="50675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3BE9D69C-2B49-4F24-B07B-26A0241FAB64}"/>
                </a:ext>
              </a:extLst>
            </p:cNvPr>
            <p:cNvSpPr/>
            <p:nvPr/>
          </p:nvSpPr>
          <p:spPr>
            <a:xfrm>
              <a:off x="11671767" y="2598524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5 h 231149"/>
                <a:gd name="connsiteX2" fmla="*/ 166377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B4FF07C2-A56F-4252-933C-4C4044641410}"/>
                </a:ext>
              </a:extLst>
            </p:cNvPr>
            <p:cNvSpPr/>
            <p:nvPr/>
          </p:nvSpPr>
          <p:spPr>
            <a:xfrm>
              <a:off x="11501579" y="2481679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E25E20D0-36C1-4638-A03E-DF38DE0F273A}"/>
                </a:ext>
              </a:extLst>
            </p:cNvPr>
            <p:cNvSpPr/>
            <p:nvPr/>
          </p:nvSpPr>
          <p:spPr>
            <a:xfrm>
              <a:off x="11331391" y="2242909"/>
              <a:ext cx="674401" cy="351804"/>
            </a:xfrm>
            <a:custGeom>
              <a:avLst/>
              <a:gdLst>
                <a:gd name="connsiteX0" fmla="*/ 338470 w 674401"/>
                <a:gd name="connsiteY0" fmla="*/ 234959 h 351804"/>
                <a:gd name="connsiteX1" fmla="*/ 337201 w 674401"/>
                <a:gd name="connsiteY1" fmla="*/ 234324 h 351804"/>
                <a:gd name="connsiteX2" fmla="*/ 168283 w 674401"/>
                <a:gd name="connsiteY2" fmla="*/ 351804 h 351804"/>
                <a:gd name="connsiteX3" fmla="*/ 0 w 674401"/>
                <a:gd name="connsiteY3" fmla="*/ 234324 h 351804"/>
                <a:gd name="connsiteX4" fmla="*/ 337201 w 674401"/>
                <a:gd name="connsiteY4" fmla="*/ 0 h 351804"/>
                <a:gd name="connsiteX5" fmla="*/ 674401 w 674401"/>
                <a:gd name="connsiteY5" fmla="*/ 234324 h 351804"/>
                <a:gd name="connsiteX6" fmla="*/ 506753 w 674401"/>
                <a:gd name="connsiteY6" fmla="*/ 351169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8470" y="234959"/>
                  </a:move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lnTo>
                    <a:pt x="50675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8ED6B9EE-3D7D-4C6E-8368-7699765586B4}"/>
                </a:ext>
              </a:extLst>
            </p:cNvPr>
            <p:cNvSpPr/>
            <p:nvPr/>
          </p:nvSpPr>
          <p:spPr>
            <a:xfrm>
              <a:off x="11841320" y="1061762"/>
              <a:ext cx="165742" cy="229244"/>
            </a:xfrm>
            <a:custGeom>
              <a:avLst/>
              <a:gdLst>
                <a:gd name="connsiteX0" fmla="*/ 0 w 165742"/>
                <a:gd name="connsiteY0" fmla="*/ 114940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40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9766A64A-97BE-48E1-A87D-7659FB265E73}"/>
                </a:ext>
              </a:extLst>
            </p:cNvPr>
            <p:cNvSpPr/>
            <p:nvPr/>
          </p:nvSpPr>
          <p:spPr>
            <a:xfrm>
              <a:off x="11670497" y="352439"/>
              <a:ext cx="336565" cy="702338"/>
            </a:xfrm>
            <a:custGeom>
              <a:avLst/>
              <a:gdLst>
                <a:gd name="connsiteX0" fmla="*/ 0 w 336565"/>
                <a:gd name="connsiteY0" fmla="*/ 468014 h 702338"/>
                <a:gd name="connsiteX1" fmla="*/ 0 w 336565"/>
                <a:gd name="connsiteY1" fmla="*/ 0 h 702338"/>
                <a:gd name="connsiteX2" fmla="*/ 167648 w 336565"/>
                <a:gd name="connsiteY2" fmla="*/ 116210 h 702338"/>
                <a:gd name="connsiteX3" fmla="*/ 167648 w 336565"/>
                <a:gd name="connsiteY3" fmla="*/ 351169 h 702338"/>
                <a:gd name="connsiteX4" fmla="*/ 336566 w 336565"/>
                <a:gd name="connsiteY4" fmla="*/ 468649 h 702338"/>
                <a:gd name="connsiteX5" fmla="*/ 336566 w 336565"/>
                <a:gd name="connsiteY5" fmla="*/ 702338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0" y="468014"/>
                  </a:moveTo>
                  <a:lnTo>
                    <a:pt x="0" y="0"/>
                  </a:lnTo>
                  <a:lnTo>
                    <a:pt x="167648" y="116210"/>
                  </a:ln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69AFAE1E-BA2B-42C6-9F05-D63ED810A36C}"/>
                </a:ext>
              </a:extLst>
            </p:cNvPr>
            <p:cNvSpPr/>
            <p:nvPr/>
          </p:nvSpPr>
          <p:spPr>
            <a:xfrm>
              <a:off x="11841955" y="352439"/>
              <a:ext cx="333390" cy="464203"/>
            </a:xfrm>
            <a:custGeom>
              <a:avLst/>
              <a:gdLst>
                <a:gd name="connsiteX0" fmla="*/ 166378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D2DA1146-695D-4FCB-BB43-4DD3DA0CBE64}"/>
                </a:ext>
              </a:extLst>
            </p:cNvPr>
            <p:cNvSpPr/>
            <p:nvPr/>
          </p:nvSpPr>
          <p:spPr>
            <a:xfrm>
              <a:off x="12010873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AF8BD631-8EF0-44C1-856D-79F193AEE73C}"/>
                </a:ext>
              </a:extLst>
            </p:cNvPr>
            <p:cNvSpPr/>
            <p:nvPr/>
          </p:nvSpPr>
          <p:spPr>
            <a:xfrm>
              <a:off x="12012143" y="469283"/>
              <a:ext cx="179857" cy="231784"/>
            </a:xfrm>
            <a:custGeom>
              <a:avLst/>
              <a:gdLst>
                <a:gd name="connsiteX0" fmla="*/ 166377 w 179857"/>
                <a:gd name="connsiteY0" fmla="*/ 0 h 231784"/>
                <a:gd name="connsiteX1" fmla="*/ 179857 w 179857"/>
                <a:gd name="connsiteY1" fmla="*/ 9293 h 231784"/>
                <a:gd name="connsiteX2" fmla="*/ 179857 w 179857"/>
                <a:gd name="connsiteY2" fmla="*/ 222440 h 231784"/>
                <a:gd name="connsiteX3" fmla="*/ 166377 w 179857"/>
                <a:gd name="connsiteY3" fmla="*/ 231784 h 231784"/>
                <a:gd name="connsiteX4" fmla="*/ 0 w 179857"/>
                <a:gd name="connsiteY4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784">
                  <a:moveTo>
                    <a:pt x="166377" y="0"/>
                  </a:moveTo>
                  <a:lnTo>
                    <a:pt x="179857" y="9293"/>
                  </a:lnTo>
                  <a:lnTo>
                    <a:pt x="179857" y="222440"/>
                  </a:lnTo>
                  <a:lnTo>
                    <a:pt x="166377" y="231784"/>
                  </a:lnTo>
                  <a:lnTo>
                    <a:pt x="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BF9E852E-76A9-4AFA-982D-F5058F01E734}"/>
                </a:ext>
              </a:extLst>
            </p:cNvPr>
            <p:cNvSpPr/>
            <p:nvPr/>
          </p:nvSpPr>
          <p:spPr>
            <a:xfrm>
              <a:off x="11671767" y="114304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959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8278867D-9845-41CD-9C1B-2C0F9F088860}"/>
                </a:ext>
              </a:extLst>
            </p:cNvPr>
            <p:cNvSpPr/>
            <p:nvPr/>
          </p:nvSpPr>
          <p:spPr>
            <a:xfrm>
              <a:off x="11670496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C2D1F093-2428-48D1-AFBE-5FBE6F8942B6}"/>
                </a:ext>
              </a:extLst>
            </p:cNvPr>
            <p:cNvSpPr/>
            <p:nvPr/>
          </p:nvSpPr>
          <p:spPr>
            <a:xfrm>
              <a:off x="11500944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C48140A8-EB20-43FC-9AF3-93CA956AEFCF}"/>
                </a:ext>
              </a:extLst>
            </p:cNvPr>
            <p:cNvSpPr/>
            <p:nvPr/>
          </p:nvSpPr>
          <p:spPr>
            <a:xfrm>
              <a:off x="10991650" y="114304"/>
              <a:ext cx="673766" cy="351169"/>
            </a:xfrm>
            <a:custGeom>
              <a:avLst/>
              <a:gdLst>
                <a:gd name="connsiteX0" fmla="*/ 506118 w 673766"/>
                <a:gd name="connsiteY0" fmla="*/ 350534 h 351169"/>
                <a:gd name="connsiteX1" fmla="*/ 337836 w 673766"/>
                <a:gd name="connsiteY1" fmla="*/ 234959 h 351169"/>
                <a:gd name="connsiteX2" fmla="*/ 336566 w 673766"/>
                <a:gd name="connsiteY2" fmla="*/ 233689 h 351169"/>
                <a:gd name="connsiteX3" fmla="*/ 167647 w 673766"/>
                <a:gd name="connsiteY3" fmla="*/ 351169 h 351169"/>
                <a:gd name="connsiteX4" fmla="*/ 0 w 673766"/>
                <a:gd name="connsiteY4" fmla="*/ 234324 h 351169"/>
                <a:gd name="connsiteX5" fmla="*/ 336566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8" y="350534"/>
                  </a:moveTo>
                  <a:lnTo>
                    <a:pt x="337836" y="234959"/>
                  </a:ln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B0F3385C-F6F0-4C33-8458-D8C90CE82D15}"/>
                </a:ext>
              </a:extLst>
            </p:cNvPr>
            <p:cNvSpPr/>
            <p:nvPr/>
          </p:nvSpPr>
          <p:spPr>
            <a:xfrm>
              <a:off x="10989744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B3E02B83-1125-4D5E-8F4E-884384991001}"/>
                </a:ext>
              </a:extLst>
            </p:cNvPr>
            <p:cNvSpPr/>
            <p:nvPr/>
          </p:nvSpPr>
          <p:spPr>
            <a:xfrm>
              <a:off x="10820192" y="351804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6089D650-0B12-4732-9F6A-6B5AC1A65BB1}"/>
                </a:ext>
              </a:extLst>
            </p:cNvPr>
            <p:cNvSpPr/>
            <p:nvPr/>
          </p:nvSpPr>
          <p:spPr>
            <a:xfrm>
              <a:off x="10310898" y="114304"/>
              <a:ext cx="673766" cy="351169"/>
            </a:xfrm>
            <a:custGeom>
              <a:avLst/>
              <a:gdLst>
                <a:gd name="connsiteX0" fmla="*/ 506119 w 673766"/>
                <a:gd name="connsiteY0" fmla="*/ 350534 h 351169"/>
                <a:gd name="connsiteX1" fmla="*/ 337836 w 673766"/>
                <a:gd name="connsiteY1" fmla="*/ 234959 h 351169"/>
                <a:gd name="connsiteX2" fmla="*/ 336566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6566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9" y="350534"/>
                  </a:moveTo>
                  <a:lnTo>
                    <a:pt x="337836" y="234959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A3FD1BDB-23E4-4746-B6DA-31C8A2085331}"/>
                </a:ext>
              </a:extLst>
            </p:cNvPr>
            <p:cNvSpPr/>
            <p:nvPr/>
          </p:nvSpPr>
          <p:spPr>
            <a:xfrm>
              <a:off x="10308993" y="0"/>
              <a:ext cx="337201" cy="344820"/>
            </a:xfrm>
            <a:custGeom>
              <a:avLst/>
              <a:gdLst>
                <a:gd name="connsiteX0" fmla="*/ 161673 w 337201"/>
                <a:gd name="connsiteY0" fmla="*/ 0 h 344820"/>
                <a:gd name="connsiteX1" fmla="*/ 337201 w 337201"/>
                <a:gd name="connsiteY1" fmla="*/ 0 h 344820"/>
                <a:gd name="connsiteX2" fmla="*/ 337201 w 337201"/>
                <a:gd name="connsiteY2" fmla="*/ 111130 h 344820"/>
                <a:gd name="connsiteX3" fmla="*/ 0 w 337201"/>
                <a:gd name="connsiteY3" fmla="*/ 344820 h 344820"/>
                <a:gd name="connsiteX4" fmla="*/ 0 w 337201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20">
                  <a:moveTo>
                    <a:pt x="161673" y="0"/>
                  </a:moveTo>
                  <a:lnTo>
                    <a:pt x="337201" y="0"/>
                  </a:lnTo>
                  <a:lnTo>
                    <a:pt x="337201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75E73E8D-0CB2-4C98-997E-10FB17A4D86A}"/>
                </a:ext>
              </a:extLst>
            </p:cNvPr>
            <p:cNvSpPr/>
            <p:nvPr/>
          </p:nvSpPr>
          <p:spPr>
            <a:xfrm>
              <a:off x="10139440" y="351804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C3A0EF31-8BF9-470C-A4B4-392CAB6D6DEA}"/>
                </a:ext>
              </a:extLst>
            </p:cNvPr>
            <p:cNvSpPr/>
            <p:nvPr/>
          </p:nvSpPr>
          <p:spPr>
            <a:xfrm>
              <a:off x="9630146" y="114304"/>
              <a:ext cx="673766" cy="351169"/>
            </a:xfrm>
            <a:custGeom>
              <a:avLst/>
              <a:gdLst>
                <a:gd name="connsiteX0" fmla="*/ 506118 w 673766"/>
                <a:gd name="connsiteY0" fmla="*/ 350534 h 351169"/>
                <a:gd name="connsiteX1" fmla="*/ 337836 w 673766"/>
                <a:gd name="connsiteY1" fmla="*/ 234959 h 351169"/>
                <a:gd name="connsiteX2" fmla="*/ 337201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7201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8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8EF88757-211A-42D3-B430-A9E7602F78A8}"/>
                </a:ext>
              </a:extLst>
            </p:cNvPr>
            <p:cNvSpPr/>
            <p:nvPr userDrawn="1"/>
          </p:nvSpPr>
          <p:spPr>
            <a:xfrm>
              <a:off x="9628875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010352C5-C01F-40B3-9403-CE6795763295}"/>
                </a:ext>
              </a:extLst>
            </p:cNvPr>
            <p:cNvSpPr/>
            <p:nvPr/>
          </p:nvSpPr>
          <p:spPr>
            <a:xfrm>
              <a:off x="9459323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151814D9-77E1-4C5C-8B42-2DDFAAC5F123}"/>
                </a:ext>
              </a:extLst>
            </p:cNvPr>
            <p:cNvSpPr/>
            <p:nvPr userDrawn="1"/>
          </p:nvSpPr>
          <p:spPr>
            <a:xfrm>
              <a:off x="8949395" y="114304"/>
              <a:ext cx="673766" cy="351169"/>
            </a:xfrm>
            <a:custGeom>
              <a:avLst/>
              <a:gdLst>
                <a:gd name="connsiteX0" fmla="*/ 506119 w 673766"/>
                <a:gd name="connsiteY0" fmla="*/ 350534 h 351169"/>
                <a:gd name="connsiteX1" fmla="*/ 337836 w 673766"/>
                <a:gd name="connsiteY1" fmla="*/ 234959 h 351169"/>
                <a:gd name="connsiteX2" fmla="*/ 337201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7201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9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2D465644-1F10-4B91-9D40-A96283500782}"/>
                </a:ext>
              </a:extLst>
            </p:cNvPr>
            <p:cNvSpPr/>
            <p:nvPr/>
          </p:nvSpPr>
          <p:spPr>
            <a:xfrm>
              <a:off x="8948123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A159563C-ED59-4204-B09F-15A85D7EF919}"/>
                </a:ext>
              </a:extLst>
            </p:cNvPr>
            <p:cNvSpPr/>
            <p:nvPr/>
          </p:nvSpPr>
          <p:spPr>
            <a:xfrm>
              <a:off x="8778571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2ED37143-7EC6-4544-92F1-59DC8DD29A7A}"/>
                </a:ext>
              </a:extLst>
            </p:cNvPr>
            <p:cNvSpPr/>
            <p:nvPr userDrawn="1"/>
          </p:nvSpPr>
          <p:spPr>
            <a:xfrm>
              <a:off x="8268643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3A007D98-3210-4F34-B99E-F4A2C476EA2B}"/>
                </a:ext>
              </a:extLst>
            </p:cNvPr>
            <p:cNvSpPr/>
            <p:nvPr userDrawn="1"/>
          </p:nvSpPr>
          <p:spPr>
            <a:xfrm>
              <a:off x="8267371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0CEE2DAB-1C51-463E-978C-E52C3D3428DB}"/>
                </a:ext>
              </a:extLst>
            </p:cNvPr>
            <p:cNvSpPr/>
            <p:nvPr/>
          </p:nvSpPr>
          <p:spPr>
            <a:xfrm>
              <a:off x="8097819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A535C535-6FE7-45F9-93BC-7A70BEE1B0BF}"/>
                </a:ext>
              </a:extLst>
            </p:cNvPr>
            <p:cNvSpPr/>
            <p:nvPr/>
          </p:nvSpPr>
          <p:spPr>
            <a:xfrm>
              <a:off x="7587891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A4434797-CD11-4664-96F3-F3533D6580FB}"/>
                </a:ext>
              </a:extLst>
            </p:cNvPr>
            <p:cNvSpPr/>
            <p:nvPr userDrawn="1"/>
          </p:nvSpPr>
          <p:spPr>
            <a:xfrm>
              <a:off x="7586620" y="0"/>
              <a:ext cx="336566" cy="344820"/>
            </a:xfrm>
            <a:custGeom>
              <a:avLst/>
              <a:gdLst>
                <a:gd name="connsiteX0" fmla="*/ 161369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9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1DD0A4C6-EFD6-4D88-B861-897105EEE6F6}"/>
                </a:ext>
              </a:extLst>
            </p:cNvPr>
            <p:cNvSpPr/>
            <p:nvPr/>
          </p:nvSpPr>
          <p:spPr>
            <a:xfrm>
              <a:off x="7417068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92179288-FCEF-4517-8E25-D248CA24437B}"/>
                </a:ext>
              </a:extLst>
            </p:cNvPr>
            <p:cNvSpPr/>
            <p:nvPr userDrawn="1"/>
          </p:nvSpPr>
          <p:spPr>
            <a:xfrm>
              <a:off x="6907139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1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E2023F14-AC0A-446C-A261-39C0404C5812}"/>
                </a:ext>
              </a:extLst>
            </p:cNvPr>
            <p:cNvSpPr/>
            <p:nvPr/>
          </p:nvSpPr>
          <p:spPr>
            <a:xfrm>
              <a:off x="6905868" y="0"/>
              <a:ext cx="336566" cy="344820"/>
            </a:xfrm>
            <a:custGeom>
              <a:avLst/>
              <a:gdLst>
                <a:gd name="connsiteX0" fmla="*/ 161369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9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3B9A4A1F-27A7-4809-9137-6DE1AA963074}"/>
                </a:ext>
              </a:extLst>
            </p:cNvPr>
            <p:cNvSpPr/>
            <p:nvPr/>
          </p:nvSpPr>
          <p:spPr>
            <a:xfrm>
              <a:off x="6736316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1A508872-D437-4AAE-A6BF-384A0F9DE3CA}"/>
                </a:ext>
              </a:extLst>
            </p:cNvPr>
            <p:cNvSpPr/>
            <p:nvPr/>
          </p:nvSpPr>
          <p:spPr>
            <a:xfrm>
              <a:off x="6226387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8471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8471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A96B18E4-DF96-43F9-BAD5-412F5147C0D3}"/>
                </a:ext>
              </a:extLst>
            </p:cNvPr>
            <p:cNvSpPr/>
            <p:nvPr/>
          </p:nvSpPr>
          <p:spPr>
            <a:xfrm>
              <a:off x="6055564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8C1FFDA1-FD48-4A88-A990-D2FDA3D62DFC}"/>
                </a:ext>
              </a:extLst>
            </p:cNvPr>
            <p:cNvSpPr/>
            <p:nvPr/>
          </p:nvSpPr>
          <p:spPr>
            <a:xfrm>
              <a:off x="11670497" y="3190367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8649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C5B7005F-22C0-4AEF-AC6A-0F2F428A68D2}"/>
                </a:ext>
              </a:extLst>
            </p:cNvPr>
            <p:cNvSpPr/>
            <p:nvPr/>
          </p:nvSpPr>
          <p:spPr>
            <a:xfrm>
              <a:off x="11841955" y="3191002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D81983A4-BE29-4A95-909E-7E65C8CA44F4}"/>
                </a:ext>
              </a:extLst>
            </p:cNvPr>
            <p:cNvSpPr/>
            <p:nvPr/>
          </p:nvSpPr>
          <p:spPr>
            <a:xfrm>
              <a:off x="12010873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4CE6400B-0FC2-4700-9828-B12438946AF8}"/>
                </a:ext>
              </a:extLst>
            </p:cNvPr>
            <p:cNvSpPr/>
            <p:nvPr/>
          </p:nvSpPr>
          <p:spPr>
            <a:xfrm>
              <a:off x="12012143" y="3307847"/>
              <a:ext cx="179857" cy="231149"/>
            </a:xfrm>
            <a:custGeom>
              <a:avLst/>
              <a:gdLst>
                <a:gd name="connsiteX0" fmla="*/ 166377 w 179857"/>
                <a:gd name="connsiteY0" fmla="*/ 0 h 231149"/>
                <a:gd name="connsiteX1" fmla="*/ 179857 w 179857"/>
                <a:gd name="connsiteY1" fmla="*/ 9293 h 231149"/>
                <a:gd name="connsiteX2" fmla="*/ 179857 w 179857"/>
                <a:gd name="connsiteY2" fmla="*/ 221856 h 231149"/>
                <a:gd name="connsiteX3" fmla="*/ 166377 w 179857"/>
                <a:gd name="connsiteY3" fmla="*/ 231149 h 231149"/>
                <a:gd name="connsiteX4" fmla="*/ 0 w 179857"/>
                <a:gd name="connsiteY4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149">
                  <a:moveTo>
                    <a:pt x="166377" y="0"/>
                  </a:moveTo>
                  <a:lnTo>
                    <a:pt x="179857" y="9293"/>
                  </a:lnTo>
                  <a:lnTo>
                    <a:pt x="179857" y="221856"/>
                  </a:lnTo>
                  <a:lnTo>
                    <a:pt x="166377" y="231149"/>
                  </a:lnTo>
                  <a:lnTo>
                    <a:pt x="0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8D326F4A-8FB2-4511-8084-47F6E859F0E1}"/>
                </a:ext>
              </a:extLst>
            </p:cNvPr>
            <p:cNvSpPr/>
            <p:nvPr/>
          </p:nvSpPr>
          <p:spPr>
            <a:xfrm>
              <a:off x="11671767" y="2952868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324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C0F129C2-F76E-4CA2-B0F8-79B49DD9F2F4}"/>
                </a:ext>
              </a:extLst>
            </p:cNvPr>
            <p:cNvSpPr/>
            <p:nvPr/>
          </p:nvSpPr>
          <p:spPr>
            <a:xfrm>
              <a:off x="11841320" y="2481044"/>
              <a:ext cx="165742" cy="229244"/>
            </a:xfrm>
            <a:custGeom>
              <a:avLst/>
              <a:gdLst>
                <a:gd name="connsiteX0" fmla="*/ 0 w 165742"/>
                <a:gd name="connsiteY0" fmla="*/ 114939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39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07BBDF06-F339-4C7D-9F0B-7CC4505B44FC}"/>
                </a:ext>
              </a:extLst>
            </p:cNvPr>
            <p:cNvSpPr/>
            <p:nvPr/>
          </p:nvSpPr>
          <p:spPr>
            <a:xfrm>
              <a:off x="11670497" y="1771085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9284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B972119F-0120-4776-9177-4CA767ED76ED}"/>
                </a:ext>
              </a:extLst>
            </p:cNvPr>
            <p:cNvSpPr/>
            <p:nvPr/>
          </p:nvSpPr>
          <p:spPr>
            <a:xfrm>
              <a:off x="12010873" y="2007950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AE34A160-7946-4FC7-BAD2-DF968F576F6C}"/>
                </a:ext>
              </a:extLst>
            </p:cNvPr>
            <p:cNvSpPr/>
            <p:nvPr/>
          </p:nvSpPr>
          <p:spPr>
            <a:xfrm>
              <a:off x="12012143" y="1888565"/>
              <a:ext cx="179857" cy="231784"/>
            </a:xfrm>
            <a:custGeom>
              <a:avLst/>
              <a:gdLst>
                <a:gd name="connsiteX0" fmla="*/ 166377 w 179857"/>
                <a:gd name="connsiteY0" fmla="*/ 0 h 231784"/>
                <a:gd name="connsiteX1" fmla="*/ 179857 w 179857"/>
                <a:gd name="connsiteY1" fmla="*/ 9293 h 231784"/>
                <a:gd name="connsiteX2" fmla="*/ 179857 w 179857"/>
                <a:gd name="connsiteY2" fmla="*/ 222440 h 231784"/>
                <a:gd name="connsiteX3" fmla="*/ 166377 w 179857"/>
                <a:gd name="connsiteY3" fmla="*/ 231784 h 231784"/>
                <a:gd name="connsiteX4" fmla="*/ 0 w 179857"/>
                <a:gd name="connsiteY4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784">
                  <a:moveTo>
                    <a:pt x="166377" y="0"/>
                  </a:moveTo>
                  <a:lnTo>
                    <a:pt x="179857" y="9293"/>
                  </a:lnTo>
                  <a:lnTo>
                    <a:pt x="179857" y="222440"/>
                  </a:lnTo>
                  <a:lnTo>
                    <a:pt x="166377" y="231784"/>
                  </a:lnTo>
                  <a:lnTo>
                    <a:pt x="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14A39ADA-FD0C-420E-B35E-AC4C8DD9C418}"/>
                </a:ext>
              </a:extLst>
            </p:cNvPr>
            <p:cNvSpPr/>
            <p:nvPr/>
          </p:nvSpPr>
          <p:spPr>
            <a:xfrm>
              <a:off x="12182332" y="1171879"/>
              <a:ext cx="9669" cy="245878"/>
            </a:xfrm>
            <a:custGeom>
              <a:avLst/>
              <a:gdLst>
                <a:gd name="connsiteX0" fmla="*/ 9669 w 9669"/>
                <a:gd name="connsiteY0" fmla="*/ 0 h 245878"/>
                <a:gd name="connsiteX1" fmla="*/ 9669 w 9669"/>
                <a:gd name="connsiteY1" fmla="*/ 245878 h 245878"/>
                <a:gd name="connsiteX2" fmla="*/ 0 w 9669"/>
                <a:gd name="connsiteY2" fmla="*/ 239147 h 245878"/>
                <a:gd name="connsiteX3" fmla="*/ 0 w 9669"/>
                <a:gd name="connsiteY3" fmla="*/ 6728 h 245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69" h="245878">
                  <a:moveTo>
                    <a:pt x="9669" y="0"/>
                  </a:moveTo>
                  <a:lnTo>
                    <a:pt x="9669" y="245878"/>
                  </a:lnTo>
                  <a:lnTo>
                    <a:pt x="0" y="239147"/>
                  </a:lnTo>
                  <a:lnTo>
                    <a:pt x="0" y="672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02993F14-D86D-4693-9634-31DAF85CB00E}"/>
                </a:ext>
              </a:extLst>
            </p:cNvPr>
            <p:cNvSpPr/>
            <p:nvPr/>
          </p:nvSpPr>
          <p:spPr>
            <a:xfrm>
              <a:off x="12010873" y="696009"/>
              <a:ext cx="181127" cy="358769"/>
            </a:xfrm>
            <a:custGeom>
              <a:avLst/>
              <a:gdLst>
                <a:gd name="connsiteX0" fmla="*/ 181127 w 181127"/>
                <a:gd name="connsiteY0" fmla="*/ 0 h 358769"/>
                <a:gd name="connsiteX1" fmla="*/ 181127 w 181127"/>
                <a:gd name="connsiteY1" fmla="*/ 232664 h 358769"/>
                <a:gd name="connsiteX2" fmla="*/ 0 w 181127"/>
                <a:gd name="connsiteY2" fmla="*/ 358769 h 358769"/>
                <a:gd name="connsiteX3" fmla="*/ 0 w 181127"/>
                <a:gd name="connsiteY3" fmla="*/ 125079 h 358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8769">
                  <a:moveTo>
                    <a:pt x="181127" y="0"/>
                  </a:moveTo>
                  <a:lnTo>
                    <a:pt x="181127" y="232664"/>
                  </a:lnTo>
                  <a:lnTo>
                    <a:pt x="0" y="358769"/>
                  </a:lnTo>
                  <a:lnTo>
                    <a:pt x="0" y="1250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2B84B4CA-E840-4345-AC03-108B7A72C639}"/>
                </a:ext>
              </a:extLst>
            </p:cNvPr>
            <p:cNvSpPr/>
            <p:nvPr/>
          </p:nvSpPr>
          <p:spPr>
            <a:xfrm>
              <a:off x="12010873" y="3534280"/>
              <a:ext cx="181127" cy="359061"/>
            </a:xfrm>
            <a:custGeom>
              <a:avLst/>
              <a:gdLst>
                <a:gd name="connsiteX0" fmla="*/ 181127 w 181127"/>
                <a:gd name="connsiteY0" fmla="*/ 0 h 359061"/>
                <a:gd name="connsiteX1" fmla="*/ 181127 w 181127"/>
                <a:gd name="connsiteY1" fmla="*/ 232957 h 359061"/>
                <a:gd name="connsiteX2" fmla="*/ 0 w 181127"/>
                <a:gd name="connsiteY2" fmla="*/ 359061 h 359061"/>
                <a:gd name="connsiteX3" fmla="*/ 0 w 181127"/>
                <a:gd name="connsiteY3" fmla="*/ 124737 h 359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9061">
                  <a:moveTo>
                    <a:pt x="181127" y="0"/>
                  </a:moveTo>
                  <a:lnTo>
                    <a:pt x="181127" y="232957"/>
                  </a:lnTo>
                  <a:lnTo>
                    <a:pt x="0" y="359061"/>
                  </a:lnTo>
                  <a:lnTo>
                    <a:pt x="0" y="124737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256EFF7B-6FBE-414D-AC40-7A050865D57A}"/>
                </a:ext>
              </a:extLst>
            </p:cNvPr>
            <p:cNvSpPr/>
            <p:nvPr/>
          </p:nvSpPr>
          <p:spPr>
            <a:xfrm>
              <a:off x="12182332" y="2591161"/>
              <a:ext cx="9669" cy="245878"/>
            </a:xfrm>
            <a:custGeom>
              <a:avLst/>
              <a:gdLst>
                <a:gd name="connsiteX0" fmla="*/ 9669 w 9669"/>
                <a:gd name="connsiteY0" fmla="*/ 0 h 245878"/>
                <a:gd name="connsiteX1" fmla="*/ 9669 w 9669"/>
                <a:gd name="connsiteY1" fmla="*/ 245878 h 245878"/>
                <a:gd name="connsiteX2" fmla="*/ 0 w 9669"/>
                <a:gd name="connsiteY2" fmla="*/ 239147 h 245878"/>
                <a:gd name="connsiteX3" fmla="*/ 0 w 9669"/>
                <a:gd name="connsiteY3" fmla="*/ 6728 h 245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69" h="245878">
                  <a:moveTo>
                    <a:pt x="9669" y="0"/>
                  </a:moveTo>
                  <a:lnTo>
                    <a:pt x="9669" y="245878"/>
                  </a:lnTo>
                  <a:lnTo>
                    <a:pt x="0" y="239147"/>
                  </a:lnTo>
                  <a:lnTo>
                    <a:pt x="0" y="672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99E3681D-30CE-4966-8C39-7DC52E67339E}"/>
                </a:ext>
              </a:extLst>
            </p:cNvPr>
            <p:cNvSpPr/>
            <p:nvPr userDrawn="1"/>
          </p:nvSpPr>
          <p:spPr>
            <a:xfrm>
              <a:off x="12010873" y="2115291"/>
              <a:ext cx="181127" cy="358769"/>
            </a:xfrm>
            <a:custGeom>
              <a:avLst/>
              <a:gdLst>
                <a:gd name="connsiteX0" fmla="*/ 181127 w 181127"/>
                <a:gd name="connsiteY0" fmla="*/ 0 h 358769"/>
                <a:gd name="connsiteX1" fmla="*/ 181127 w 181127"/>
                <a:gd name="connsiteY1" fmla="*/ 232664 h 358769"/>
                <a:gd name="connsiteX2" fmla="*/ 0 w 181127"/>
                <a:gd name="connsiteY2" fmla="*/ 358769 h 358769"/>
                <a:gd name="connsiteX3" fmla="*/ 0 w 181127"/>
                <a:gd name="connsiteY3" fmla="*/ 125079 h 358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8769">
                  <a:moveTo>
                    <a:pt x="181127" y="0"/>
                  </a:moveTo>
                  <a:lnTo>
                    <a:pt x="181127" y="232664"/>
                  </a:lnTo>
                  <a:lnTo>
                    <a:pt x="0" y="358769"/>
                  </a:lnTo>
                  <a:lnTo>
                    <a:pt x="0" y="1250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DAF59334-EE7F-45A9-A44F-43BE27EE5F4A}"/>
                </a:ext>
              </a:extLst>
            </p:cNvPr>
            <p:cNvSpPr/>
            <p:nvPr/>
          </p:nvSpPr>
          <p:spPr>
            <a:xfrm>
              <a:off x="12012143" y="933306"/>
              <a:ext cx="179857" cy="242125"/>
            </a:xfrm>
            <a:custGeom>
              <a:avLst/>
              <a:gdLst>
                <a:gd name="connsiteX0" fmla="*/ 179857 w 179857"/>
                <a:gd name="connsiteY0" fmla="*/ 0 h 242125"/>
                <a:gd name="connsiteX1" fmla="*/ 179857 w 179857"/>
                <a:gd name="connsiteY1" fmla="*/ 234076 h 242125"/>
                <a:gd name="connsiteX2" fmla="*/ 168283 w 179857"/>
                <a:gd name="connsiteY2" fmla="*/ 242125 h 242125"/>
                <a:gd name="connsiteX3" fmla="*/ 0 w 179857"/>
                <a:gd name="connsiteY3" fmla="*/ 124645 h 2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857" h="242125">
                  <a:moveTo>
                    <a:pt x="179857" y="0"/>
                  </a:moveTo>
                  <a:lnTo>
                    <a:pt x="179857" y="234076"/>
                  </a:lnTo>
                  <a:lnTo>
                    <a:pt x="168283" y="242125"/>
                  </a:lnTo>
                  <a:lnTo>
                    <a:pt x="0" y="12464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A9BF5E58-59F7-450E-8083-A54DD5533A40}"/>
                </a:ext>
              </a:extLst>
            </p:cNvPr>
            <p:cNvSpPr/>
            <p:nvPr userDrawn="1"/>
          </p:nvSpPr>
          <p:spPr>
            <a:xfrm>
              <a:off x="12012143" y="2352249"/>
              <a:ext cx="179857" cy="242464"/>
            </a:xfrm>
            <a:custGeom>
              <a:avLst/>
              <a:gdLst>
                <a:gd name="connsiteX0" fmla="*/ 179857 w 179857"/>
                <a:gd name="connsiteY0" fmla="*/ 0 h 242464"/>
                <a:gd name="connsiteX1" fmla="*/ 179857 w 179857"/>
                <a:gd name="connsiteY1" fmla="*/ 234415 h 242464"/>
                <a:gd name="connsiteX2" fmla="*/ 168283 w 179857"/>
                <a:gd name="connsiteY2" fmla="*/ 242464 h 242464"/>
                <a:gd name="connsiteX3" fmla="*/ 0 w 179857"/>
                <a:gd name="connsiteY3" fmla="*/ 124984 h 242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857" h="242464">
                  <a:moveTo>
                    <a:pt x="179857" y="0"/>
                  </a:moveTo>
                  <a:lnTo>
                    <a:pt x="179857" y="234415"/>
                  </a:lnTo>
                  <a:lnTo>
                    <a:pt x="168283" y="242464"/>
                  </a:lnTo>
                  <a:lnTo>
                    <a:pt x="0" y="12498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A190A09-38DF-44F3-867C-A471B79F10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51261" y="2832692"/>
            <a:ext cx="7140739" cy="4025309"/>
          </a:xfrm>
          <a:custGeom>
            <a:avLst/>
            <a:gdLst>
              <a:gd name="connsiteX0" fmla="*/ 5790363 w 7140739"/>
              <a:gd name="connsiteY0" fmla="*/ 0 h 4025309"/>
              <a:gd name="connsiteX1" fmla="*/ 7140739 w 7140739"/>
              <a:gd name="connsiteY1" fmla="*/ 938746 h 4025309"/>
              <a:gd name="connsiteX2" fmla="*/ 7140739 w 7140739"/>
              <a:gd name="connsiteY2" fmla="*/ 4025309 h 4025309"/>
              <a:gd name="connsiteX3" fmla="*/ 0 w 7140739"/>
              <a:gd name="connsiteY3" fmla="*/ 4025309 h 402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40739" h="4025309">
                <a:moveTo>
                  <a:pt x="5790363" y="0"/>
                </a:moveTo>
                <a:lnTo>
                  <a:pt x="7140739" y="938746"/>
                </a:lnTo>
                <a:lnTo>
                  <a:pt x="7140739" y="4025309"/>
                </a:lnTo>
                <a:lnTo>
                  <a:pt x="0" y="4025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7" name="Freeform 17">
            <a:extLst>
              <a:ext uri="{FF2B5EF4-FFF2-40B4-BE49-F238E27FC236}">
                <a16:creationId xmlns:a16="http://schemas.microsoft.com/office/drawing/2014/main" id="{B6240B64-00A8-4FE7-AA5A-4A2F8B98F2A4}"/>
              </a:ext>
            </a:extLst>
          </p:cNvPr>
          <p:cNvSpPr/>
          <p:nvPr userDrawn="1"/>
        </p:nvSpPr>
        <p:spPr>
          <a:xfrm rot="3299037" flipH="1" flipV="1">
            <a:off x="5974493" y="4464643"/>
            <a:ext cx="316395" cy="3206138"/>
          </a:xfrm>
          <a:custGeom>
            <a:avLst/>
            <a:gdLst>
              <a:gd name="connsiteX0" fmla="*/ 316395 w 316395"/>
              <a:gd name="connsiteY0" fmla="*/ 3162580 h 3206138"/>
              <a:gd name="connsiteX1" fmla="*/ 0 w 316395"/>
              <a:gd name="connsiteY1" fmla="*/ 3206138 h 3206138"/>
              <a:gd name="connsiteX2" fmla="*/ 0 w 316395"/>
              <a:gd name="connsiteY2" fmla="*/ 451589 h 3206138"/>
              <a:gd name="connsiteX3" fmla="*/ 316395 w 316395"/>
              <a:gd name="connsiteY3" fmla="*/ 0 h 320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395" h="3206138">
                <a:moveTo>
                  <a:pt x="316395" y="3162580"/>
                </a:moveTo>
                <a:lnTo>
                  <a:pt x="0" y="3206138"/>
                </a:lnTo>
                <a:lnTo>
                  <a:pt x="0" y="451589"/>
                </a:lnTo>
                <a:lnTo>
                  <a:pt x="3163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C4703DF-3E8F-47BA-BB4F-7408A471CB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6FAD8E-BF2F-4E8F-8FBC-5DBC65D769D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2 Copyright Genpact. All Rights Reserved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58F2F8-A64B-47AC-BB12-214DCFC4F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0" y="388800"/>
            <a:ext cx="5868000" cy="9900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04C4781-1C6F-4AD7-ABBE-AF369B7688D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4000" y="2250000"/>
            <a:ext cx="5868000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7037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3B73004-4686-45A1-8274-41087C5FBFF1}"/>
              </a:ext>
            </a:extLst>
          </p:cNvPr>
          <p:cNvSpPr/>
          <p:nvPr/>
        </p:nvSpPr>
        <p:spPr>
          <a:xfrm>
            <a:off x="0" y="0"/>
            <a:ext cx="12192000" cy="2020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550EB56-F093-422F-88D0-09655BF64A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020306"/>
          </a:xfrm>
          <a:prstGeom prst="rect">
            <a:avLst/>
          </a:prstGeom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2 Copyright Genpact. All Rights Reserved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2249826"/>
            <a:ext cx="11303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9083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3B73004-4686-45A1-8274-41087C5FBFF1}"/>
              </a:ext>
            </a:extLst>
          </p:cNvPr>
          <p:cNvSpPr/>
          <p:nvPr/>
        </p:nvSpPr>
        <p:spPr>
          <a:xfrm>
            <a:off x="0" y="0"/>
            <a:ext cx="12192000" cy="2020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550EB56-F093-422F-88D0-09655BF64A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020306"/>
          </a:xfrm>
          <a:prstGeom prst="rect">
            <a:avLst/>
          </a:prstGeom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2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35917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49B78C9-7BB7-49D7-954F-5AA9382FC932}"/>
              </a:ext>
            </a:extLst>
          </p:cNvPr>
          <p:cNvSpPr/>
          <p:nvPr userDrawn="1"/>
        </p:nvSpPr>
        <p:spPr>
          <a:xfrm rot="3341389" flipH="1">
            <a:off x="1622745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0B949801-D1CB-4FAA-AA6A-7CA71D329D2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9D40800-6625-A94C-8460-63F6730AD1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16A898-5A89-4CA5-9B40-95FBB2829B5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1BEBC27-A4DD-4672-8056-53320A57DF87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ECBC53C-7DFD-4D73-BD13-DCA234AEE22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61282A5-D45A-4A07-8CAF-7B8F97E7B8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2 Copyright Genpact. All Rights Reserved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D3BC51-7691-417E-9C98-81FFA8F3AC8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D5333B-D8D6-491C-8EAC-53588F8C3F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2799" y="2249827"/>
            <a:ext cx="11303999" cy="388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4026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D11DE4A4-8A73-47DE-998E-AEEEE66D8A3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225A138-8D03-4E68-8998-611A6F18F6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Footer Placeholder 3">
            <a:extLst>
              <a:ext uri="{FF2B5EF4-FFF2-40B4-BE49-F238E27FC236}">
                <a16:creationId xmlns:a16="http://schemas.microsoft.com/office/drawing/2014/main" id="{DBB6325D-B9C6-4FE6-85DB-5848971DF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2 Copyright Genpact. All Rights Reserved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76EB3F0-47D8-4109-9506-E465830BA77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0832830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49B78C9-7BB7-49D7-954F-5AA9382FC932}"/>
              </a:ext>
            </a:extLst>
          </p:cNvPr>
          <p:cNvSpPr/>
          <p:nvPr userDrawn="1"/>
        </p:nvSpPr>
        <p:spPr>
          <a:xfrm rot="3341389" flipH="1">
            <a:off x="1622745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9D40800-6625-A94C-8460-63F6730AD1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16A898-5A89-4CA5-9B40-95FBB2829B5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1BEBC27-A4DD-4672-8056-53320A57DF87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ECBC53C-7DFD-4D73-BD13-DCA234AEE22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61282A5-D45A-4A07-8CAF-7B8F97E7B8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D3BC51-7691-417E-9C98-81FFA8F3AC8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D5333B-D8D6-491C-8EAC-53588F8C3F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2799" y="1773238"/>
            <a:ext cx="11303999" cy="4357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39117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29A718C-8EA9-4538-BF62-1949A8E15399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647A549A-FC78-4BF2-8AA4-4CBCED8E7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FFC3F-8A83-4C4D-A0C9-08E98B5913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F0A051F-2529-469D-B839-67D614047EC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07D8720-3D60-4190-9DDE-9EDFBA572D3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40B7391-998E-44BB-BB77-DAB3F7DB4F6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79836ED2-DE7B-4C2F-8063-36095654B5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405AEB-0FA0-4F4B-A7C1-81C09A14F48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949476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F6318C5-3E8C-4027-8ADE-94D6DFF893DF}"/>
              </a:ext>
            </a:extLst>
          </p:cNvPr>
          <p:cNvSpPr/>
          <p:nvPr userDrawn="1"/>
        </p:nvSpPr>
        <p:spPr>
          <a:xfrm rot="3341389" flipH="1">
            <a:off x="1613714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B0EA591-0F76-4C5D-A80F-BE3FFDBDE3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5F455DBC-1E38-439B-BEB5-04B5EAD319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630176-F6B5-47F2-8078-132CA09BA10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35BF33-BB6E-45E7-8DA2-B771B41B93E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799" y="2249826"/>
            <a:ext cx="5399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99B19804-BB2B-4735-8B2C-A604FF508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6799" y="2249826"/>
            <a:ext cx="5399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3536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04" userDrawn="1">
          <p15:clr>
            <a:srgbClr val="FBAE40"/>
          </p15:clr>
        </p15:guide>
        <p15:guide id="3" pos="397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ED17A92-CC0D-4D6E-B587-CAF3EF5514C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3855" y="-11575"/>
            <a:ext cx="12217165" cy="6869575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6265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61744 w 12229384"/>
              <a:gd name="connsiteY0" fmla="*/ 0 h 6891750"/>
              <a:gd name="connsiteX1" fmla="*/ 12218073 w 12229384"/>
              <a:gd name="connsiteY1" fmla="*/ 4343205 h 6891750"/>
              <a:gd name="connsiteX2" fmla="*/ 12229384 w 12229384"/>
              <a:gd name="connsiteY2" fmla="*/ 6891750 h 6891750"/>
              <a:gd name="connsiteX3" fmla="*/ 4086469 w 12229384"/>
              <a:gd name="connsiteY3" fmla="*/ 6862656 h 6891750"/>
              <a:gd name="connsiteX4" fmla="*/ 674 w 12229384"/>
              <a:gd name="connsiteY4" fmla="*/ 6860347 h 6891750"/>
              <a:gd name="connsiteX5" fmla="*/ 12219 w 12229384"/>
              <a:gd name="connsiteY5" fmla="*/ 1516187 h 6891750"/>
              <a:gd name="connsiteX6" fmla="*/ 2173528 w 12229384"/>
              <a:gd name="connsiteY6" fmla="*/ 19896 h 6891750"/>
              <a:gd name="connsiteX7" fmla="*/ 5961744 w 12229384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62656 h 6891750"/>
              <a:gd name="connsiteX4" fmla="*/ 8775 w 12217165"/>
              <a:gd name="connsiteY4" fmla="*/ 689082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8775 w 12217165"/>
              <a:gd name="connsiteY3" fmla="*/ 6890827 h 6891750"/>
              <a:gd name="connsiteX4" fmla="*/ 0 w 12217165"/>
              <a:gd name="connsiteY4" fmla="*/ 1516187 h 6891750"/>
              <a:gd name="connsiteX5" fmla="*/ 2161309 w 12217165"/>
              <a:gd name="connsiteY5" fmla="*/ 19896 h 6891750"/>
              <a:gd name="connsiteX6" fmla="*/ 5949525 w 12217165"/>
              <a:gd name="connsiteY6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7165" h="6891750">
                <a:moveTo>
                  <a:pt x="5949525" y="0"/>
                </a:moveTo>
                <a:lnTo>
                  <a:pt x="12205854" y="4343205"/>
                </a:lnTo>
                <a:cubicBezTo>
                  <a:pt x="12209624" y="5192720"/>
                  <a:pt x="12213395" y="6042235"/>
                  <a:pt x="12217165" y="6891750"/>
                </a:cubicBezTo>
                <a:lnTo>
                  <a:pt x="8775" y="6890827"/>
                </a:lnTo>
                <a:cubicBezTo>
                  <a:pt x="4157" y="5122063"/>
                  <a:pt x="4618" y="3284951"/>
                  <a:pt x="0" y="1516187"/>
                </a:cubicBezTo>
                <a:lnTo>
                  <a:pt x="2161309" y="19896"/>
                </a:lnTo>
                <a:lnTo>
                  <a:pt x="594952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434872"/>
            <a:ext cx="6397626" cy="121859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800" y="2335488"/>
            <a:ext cx="6443999" cy="381000"/>
          </a:xfrm>
          <a:prstGeom prst="rect">
            <a:avLst/>
          </a:prstGeom>
        </p:spPr>
        <p:txBody>
          <a:bodyPr lIns="0" tIns="0" rIns="360000" b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5C7979F-B5FA-491A-9674-811E416D3A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999782"/>
            <a:ext cx="6454310" cy="990000"/>
          </a:xfrm>
        </p:spPr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4976B8-BC22-4FB2-BECC-2F92BC01DC7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800" y="6480000"/>
            <a:ext cx="2396518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AA631FB-D42E-4C3F-8885-696AF4E9B4B2}"/>
              </a:ext>
            </a:extLst>
          </p:cNvPr>
          <p:cNvSpPr/>
          <p:nvPr userDrawn="1"/>
        </p:nvSpPr>
        <p:spPr>
          <a:xfrm rot="4191016">
            <a:off x="5605571" y="-512551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2B9A1AF-97F2-4951-AD29-661ACC6A1482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BD8DDAA6-AFDC-48A0-BB6B-AC0E7FCC76A9}"/>
              </a:ext>
            </a:extLst>
          </p:cNvPr>
          <p:cNvSpPr/>
          <p:nvPr userDrawn="1"/>
        </p:nvSpPr>
        <p:spPr>
          <a:xfrm rot="17408984" flipH="1">
            <a:off x="-256184" y="-289497"/>
            <a:ext cx="2647720" cy="2280654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975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E31D0D1B-F029-4724-91D9-7B2EC70CC70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996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F69E03D5-567B-4B07-A3E5-6CE33427C21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4581D52-5A11-4CEF-A19A-C47F763A7B43}"/>
              </a:ext>
            </a:extLst>
          </p:cNvPr>
          <p:cNvSpPr/>
          <p:nvPr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1"/>
              </a:gs>
              <a:gs pos="98000">
                <a:srgbClr val="073262"/>
              </a:gs>
              <a:gs pos="33000">
                <a:schemeClr val="accent2"/>
              </a:gs>
              <a:gs pos="0">
                <a:srgbClr val="073262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800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3728C49-8B97-44DE-B314-372422AECD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C4AAAD0-4193-42FD-A688-B0CD9CED6745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E2A8F19F-DE6E-4F6F-B1FB-F82B517C455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1EA3C23-FE46-4BD5-AC99-6025EBCE08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4766BF9-5F7D-49F6-81BD-0B4EBA1BC19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39C241-A37E-4FB1-AB6F-5454AC48439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2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B9B68F2-D439-4594-AC54-2D97003187A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370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49A707FB-2749-4A62-9BFA-375267A10C6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8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D3ACC19A-B912-4B59-B8C0-B7B50203303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226798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2564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E31D0D1B-F029-4724-91D9-7B2EC70CC70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360925D-64BD-4B3C-8A81-8518ADDBB2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42799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0383EBB-A0B3-47F7-87D6-8932F29B6F8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799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390A7376-F8D9-485E-ACF1-C6D581D91DF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254798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19581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Objec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24698DA-4B02-4E60-99E2-B768DD7EF604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DCDD012-C59E-408C-9BC6-87284E8CBC4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6798" y="2249827"/>
            <a:ext cx="5400000" cy="3096000"/>
          </a:xfrm>
          <a:prstGeom prst="rect">
            <a:avLst/>
          </a:prstGeom>
        </p:spPr>
        <p:txBody>
          <a:bodyPr anchor="ctr" anchorCtr="0"/>
          <a:lstStyle>
            <a:lvl1pPr algn="ctr"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CBDA8CD-2DCF-4C62-A004-4DB0541924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6798" y="5448612"/>
            <a:ext cx="5400000" cy="68921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2pPr>
            <a:lvl3pPr marL="269875" indent="-269875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sz="1400">
                <a:solidFill>
                  <a:schemeClr val="tx2"/>
                </a:solidFill>
              </a:defRPr>
            </a:lvl3pPr>
            <a:lvl4pPr marL="503238" indent="-233363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</a:defRPr>
            </a:lvl4pPr>
            <a:lvl5pPr marL="717550" indent="-193675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lang="en-GB" sz="105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insert chart comment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4264AD-E771-4AD5-B1EE-AD1A80E273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6DA62B6-9735-4EA3-AD07-FF34EF82BD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7AC1B6-E17D-439D-A681-3E7005DA409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988B8B-FFD1-4F96-AC27-37F2C24F27E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2799" y="2249827"/>
            <a:ext cx="540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033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F8F71B2-5038-4A52-B268-EFEFC6FA962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able Placeholder 2">
            <a:extLst>
              <a:ext uri="{FF2B5EF4-FFF2-40B4-BE49-F238E27FC236}">
                <a16:creationId xmlns:a16="http://schemas.microsoft.com/office/drawing/2014/main" id="{B0D006F0-61D9-476E-AD83-77162C97648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7188827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F8F71B2-5038-4A52-B268-EFEFC6FA962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C54E401-1D0D-436B-85F4-4704AD03A9E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2799" y="2249826"/>
            <a:ext cx="11304000" cy="388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4896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 Cor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FE41B66-E82D-4657-A737-E4FA8AC65A1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9AC699-128E-45D5-B4BD-EAC43A48A49E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72390D-159B-4196-85C8-AA23F030744B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6685164-D677-427B-80C8-FE067C72B49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7020BA19-38E8-4FDA-B53A-16F1C13492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BAFA92-4783-4C5A-8253-6644BF0A1D2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7989929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DBF1773-246E-4C31-9EA7-4FD8C7D51459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CA5AE9-16F5-49C5-B31D-EEE1E47188C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A9CFC4A-1CEB-4790-BACF-6EA17DF30D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379C90-D03A-4E69-A2E9-B510124AEE8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349224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D9ABB7B-8CFC-469E-87BB-9D57F55E131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369FB11-7907-467F-8696-2250886D64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75645" y="2852103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431397E-CA6D-447B-89CE-7141F15223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2852103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1F11-552E-4AC1-B90D-84C47A0F5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232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904BCC42-990A-4C9D-B509-29DF24C802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1600" y="2196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DF459731-1012-4F51-AB8C-A81255FA38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69592" y="4016631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02522068-1D86-4299-A574-347C2821CAF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912" y="4016631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22D0734C-534D-4AAB-B46F-E3DC9C987D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81700" y="5181159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E3E31F3B-3F47-424E-9E3A-E3D439B3A60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196" y="5181159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7F8775-4EFF-497B-A127-D347C4E65B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19C3E27-EA49-4C1F-88F7-145D73459B6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50CD98-A671-4A84-BAA9-FF4FA6646D38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2F17EEC5-3654-468C-B185-1F74B0965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C7B8E5D-5373-4534-B7A6-D90C6CCED9D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2837100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0117C252-9AE2-459C-9692-4C928EFCD04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977456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977455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sz="14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601033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601033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sz="14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610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8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52280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609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8992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5275650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0DE3D9A-5745-456B-8E35-49AEDDA27D34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7353E-1508-4EB2-B032-CFE0208BB6B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61DE440B-C47F-416C-8AEC-F66503201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C20A41-BC4E-4146-B326-26BC80025289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3581229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>
            <a:extLst>
              <a:ext uri="{FF2B5EF4-FFF2-40B4-BE49-F238E27FC236}">
                <a16:creationId xmlns:a16="http://schemas.microsoft.com/office/drawing/2014/main" id="{52F038EE-63DB-4468-A7FF-D4C488C62278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0C92DC8-8F9B-FD4C-A423-93681EAA05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4357" y="1202822"/>
            <a:ext cx="8127643" cy="5655179"/>
          </a:xfrm>
          <a:custGeom>
            <a:avLst/>
            <a:gdLst>
              <a:gd name="connsiteX0" fmla="*/ 8127643 w 8127643"/>
              <a:gd name="connsiteY0" fmla="*/ 0 h 5655179"/>
              <a:gd name="connsiteX1" fmla="*/ 8127643 w 8127643"/>
              <a:gd name="connsiteY1" fmla="*/ 4020543 h 5655179"/>
              <a:gd name="connsiteX2" fmla="*/ 5775413 w 8127643"/>
              <a:gd name="connsiteY2" fmla="*/ 5655179 h 5655179"/>
              <a:gd name="connsiteX3" fmla="*/ 0 w 8127643"/>
              <a:gd name="connsiteY3" fmla="*/ 5655179 h 5655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7643" h="5655179">
                <a:moveTo>
                  <a:pt x="8127643" y="0"/>
                </a:moveTo>
                <a:lnTo>
                  <a:pt x="8127643" y="4020543"/>
                </a:lnTo>
                <a:lnTo>
                  <a:pt x="5775413" y="5655179"/>
                </a:lnTo>
                <a:lnTo>
                  <a:pt x="0" y="565517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376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lang="en-GB" sz="1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  <a:p>
            <a:pPr marL="0" lvl="0" indent="0" algn="ctr">
              <a:buFont typeface="Arial" panose="020B0604020202020204" pitchFamily="34" charset="0"/>
              <a:buNone/>
            </a:pP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0324D3F-C030-485A-A8C3-01CA627A79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873B3ECE-66FA-8F4A-9BA4-70589FB28F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6A979B9-FB94-CB41-BC9E-B6C559E0F5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197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D50170-9A03-4DF0-ADB1-B9E0F3635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1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C11DD6-F2E7-4DAD-A8D2-25B1960A815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42800" y="6480000"/>
            <a:ext cx="2396518" cy="123111"/>
          </a:xfrm>
        </p:spPr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2 Copyright Genpact. All Rights Reserved.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E106C1-E5A4-4F33-AEF9-E4AE65A838B4}"/>
              </a:ext>
            </a:extLst>
          </p:cNvPr>
          <p:cNvSpPr/>
          <p:nvPr userDrawn="1"/>
        </p:nvSpPr>
        <p:spPr>
          <a:xfrm rot="17391976" flipH="1">
            <a:off x="9337917" y="4563796"/>
            <a:ext cx="3055372" cy="2597595"/>
          </a:xfrm>
          <a:custGeom>
            <a:avLst/>
            <a:gdLst>
              <a:gd name="connsiteX0" fmla="*/ 0 w 4662314"/>
              <a:gd name="connsiteY0" fmla="*/ 3205489 h 3391128"/>
              <a:gd name="connsiteX1" fmla="*/ 513768 w 4662314"/>
              <a:gd name="connsiteY1" fmla="*/ 3391128 h 3391128"/>
              <a:gd name="connsiteX2" fmla="*/ 4662314 w 4662314"/>
              <a:gd name="connsiteY2" fmla="*/ 452233 h 3391128"/>
              <a:gd name="connsiteX3" fmla="*/ 4542036 w 4662314"/>
              <a:gd name="connsiteY3" fmla="*/ 0 h 3391128"/>
              <a:gd name="connsiteX0" fmla="*/ 0 w 4662314"/>
              <a:gd name="connsiteY0" fmla="*/ 3205489 h 3683558"/>
              <a:gd name="connsiteX1" fmla="*/ 1543623 w 4662314"/>
              <a:gd name="connsiteY1" fmla="*/ 3683558 h 3683558"/>
              <a:gd name="connsiteX2" fmla="*/ 4662314 w 4662314"/>
              <a:gd name="connsiteY2" fmla="*/ 452233 h 3683558"/>
              <a:gd name="connsiteX3" fmla="*/ 4542036 w 4662314"/>
              <a:gd name="connsiteY3" fmla="*/ 0 h 3683558"/>
              <a:gd name="connsiteX4" fmla="*/ 0 w 4662314"/>
              <a:gd name="connsiteY4" fmla="*/ 3205489 h 3683558"/>
              <a:gd name="connsiteX0" fmla="*/ 0 w 4662314"/>
              <a:gd name="connsiteY0" fmla="*/ 3205489 h 3744923"/>
              <a:gd name="connsiteX1" fmla="*/ 1586816 w 4662314"/>
              <a:gd name="connsiteY1" fmla="*/ 3744922 h 3744923"/>
              <a:gd name="connsiteX2" fmla="*/ 4662314 w 4662314"/>
              <a:gd name="connsiteY2" fmla="*/ 452233 h 3744923"/>
              <a:gd name="connsiteX3" fmla="*/ 4542036 w 4662314"/>
              <a:gd name="connsiteY3" fmla="*/ 0 h 3744923"/>
              <a:gd name="connsiteX4" fmla="*/ 0 w 4662314"/>
              <a:gd name="connsiteY4" fmla="*/ 3205489 h 3744923"/>
              <a:gd name="connsiteX0" fmla="*/ 0 w 4542036"/>
              <a:gd name="connsiteY0" fmla="*/ 3205489 h 3744922"/>
              <a:gd name="connsiteX1" fmla="*/ 1586816 w 4542036"/>
              <a:gd name="connsiteY1" fmla="*/ 3744922 h 3744922"/>
              <a:gd name="connsiteX2" fmla="*/ 3838762 w 4542036"/>
              <a:gd name="connsiteY2" fmla="*/ 2176681 h 3744922"/>
              <a:gd name="connsiteX3" fmla="*/ 4542036 w 4542036"/>
              <a:gd name="connsiteY3" fmla="*/ 0 h 3744922"/>
              <a:gd name="connsiteX4" fmla="*/ 0 w 4542036"/>
              <a:gd name="connsiteY4" fmla="*/ 3205489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838114 w 4541388"/>
              <a:gd name="connsiteY2" fmla="*/ 2176681 h 3744922"/>
              <a:gd name="connsiteX3" fmla="*/ 4541388 w 4541388"/>
              <a:gd name="connsiteY3" fmla="*/ 0 h 3744922"/>
              <a:gd name="connsiteX4" fmla="*/ 0 w 4541388"/>
              <a:gd name="connsiteY4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0 w 4541388"/>
              <a:gd name="connsiteY5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3906986 w 4541388"/>
              <a:gd name="connsiteY5" fmla="*/ 418650 h 3744922"/>
              <a:gd name="connsiteX6" fmla="*/ 0 w 4541388"/>
              <a:gd name="connsiteY6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4541388 w 4541388"/>
              <a:gd name="connsiteY3" fmla="*/ 0 h 3744922"/>
              <a:gd name="connsiteX4" fmla="*/ 3906986 w 4541388"/>
              <a:gd name="connsiteY4" fmla="*/ 418650 h 3744922"/>
              <a:gd name="connsiteX5" fmla="*/ 0 w 4541388"/>
              <a:gd name="connsiteY5" fmla="*/ 3179576 h 3744922"/>
              <a:gd name="connsiteX0" fmla="*/ 0 w 3906986"/>
              <a:gd name="connsiteY0" fmla="*/ 2760926 h 3326272"/>
              <a:gd name="connsiteX1" fmla="*/ 1586168 w 3906986"/>
              <a:gd name="connsiteY1" fmla="*/ 3326272 h 3326272"/>
              <a:gd name="connsiteX2" fmla="*/ 3117387 w 3906986"/>
              <a:gd name="connsiteY2" fmla="*/ 2233505 h 3326272"/>
              <a:gd name="connsiteX3" fmla="*/ 3906986 w 3906986"/>
              <a:gd name="connsiteY3" fmla="*/ 0 h 3326272"/>
              <a:gd name="connsiteX4" fmla="*/ 0 w 3906986"/>
              <a:gd name="connsiteY4" fmla="*/ 2760926 h 3326272"/>
              <a:gd name="connsiteX0" fmla="*/ 0 w 3944041"/>
              <a:gd name="connsiteY0" fmla="*/ 2791114 h 3356460"/>
              <a:gd name="connsiteX1" fmla="*/ 1586168 w 3944041"/>
              <a:gd name="connsiteY1" fmla="*/ 3356460 h 3356460"/>
              <a:gd name="connsiteX2" fmla="*/ 3117387 w 3944041"/>
              <a:gd name="connsiteY2" fmla="*/ 2263693 h 3356460"/>
              <a:gd name="connsiteX3" fmla="*/ 3944041 w 3944041"/>
              <a:gd name="connsiteY3" fmla="*/ 0 h 3356460"/>
              <a:gd name="connsiteX4" fmla="*/ 0 w 3944041"/>
              <a:gd name="connsiteY4" fmla="*/ 2791114 h 3356460"/>
              <a:gd name="connsiteX0" fmla="*/ 0 w 3944041"/>
              <a:gd name="connsiteY0" fmla="*/ 2791114 h 3353118"/>
              <a:gd name="connsiteX1" fmla="*/ 1576917 w 3944041"/>
              <a:gd name="connsiteY1" fmla="*/ 3353118 h 3353118"/>
              <a:gd name="connsiteX2" fmla="*/ 3117387 w 3944041"/>
              <a:gd name="connsiteY2" fmla="*/ 2263693 h 3353118"/>
              <a:gd name="connsiteX3" fmla="*/ 3944041 w 3944041"/>
              <a:gd name="connsiteY3" fmla="*/ 0 h 3353118"/>
              <a:gd name="connsiteX4" fmla="*/ 0 w 3944041"/>
              <a:gd name="connsiteY4" fmla="*/ 2791114 h 335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4041" h="3353118">
                <a:moveTo>
                  <a:pt x="0" y="2791114"/>
                </a:moveTo>
                <a:lnTo>
                  <a:pt x="1576917" y="3353118"/>
                </a:lnTo>
                <a:lnTo>
                  <a:pt x="3117387" y="2263693"/>
                </a:lnTo>
                <a:lnTo>
                  <a:pt x="3944041" y="0"/>
                </a:lnTo>
                <a:lnTo>
                  <a:pt x="0" y="2791114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3666787-C34F-4060-9C0B-3567CC8D732A}"/>
              </a:ext>
            </a:extLst>
          </p:cNvPr>
          <p:cNvSpPr/>
          <p:nvPr userDrawn="1"/>
        </p:nvSpPr>
        <p:spPr>
          <a:xfrm rot="3299037">
            <a:off x="4967294" y="3363337"/>
            <a:ext cx="1106312" cy="5035605"/>
          </a:xfrm>
          <a:custGeom>
            <a:avLst/>
            <a:gdLst>
              <a:gd name="connsiteX0" fmla="*/ 0 w 1208279"/>
              <a:gd name="connsiteY0" fmla="*/ 444052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0" fmla="*/ 12488 w 1208279"/>
              <a:gd name="connsiteY0" fmla="*/ 290096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4" fmla="*/ 12488 w 1208279"/>
              <a:gd name="connsiteY4" fmla="*/ 290096 h 5841369"/>
              <a:gd name="connsiteX0" fmla="*/ 12488 w 1208279"/>
              <a:gd name="connsiteY0" fmla="*/ 386502 h 5937775"/>
              <a:gd name="connsiteX1" fmla="*/ 1118728 w 1208279"/>
              <a:gd name="connsiteY1" fmla="*/ 0 h 5937775"/>
              <a:gd name="connsiteX2" fmla="*/ 1208279 w 1208279"/>
              <a:gd name="connsiteY2" fmla="*/ 4213202 h 5937775"/>
              <a:gd name="connsiteX3" fmla="*/ 0 w 1208279"/>
              <a:gd name="connsiteY3" fmla="*/ 5937775 h 5937775"/>
              <a:gd name="connsiteX4" fmla="*/ 12488 w 1208279"/>
              <a:gd name="connsiteY4" fmla="*/ 386502 h 5937775"/>
              <a:gd name="connsiteX0" fmla="*/ 12488 w 1118728"/>
              <a:gd name="connsiteY0" fmla="*/ 386502 h 5937775"/>
              <a:gd name="connsiteX1" fmla="*/ 1118728 w 1118728"/>
              <a:gd name="connsiteY1" fmla="*/ 0 h 5937775"/>
              <a:gd name="connsiteX2" fmla="*/ 1098667 w 1118728"/>
              <a:gd name="connsiteY2" fmla="*/ 4377658 h 5937775"/>
              <a:gd name="connsiteX3" fmla="*/ 0 w 1118728"/>
              <a:gd name="connsiteY3" fmla="*/ 5937775 h 5937775"/>
              <a:gd name="connsiteX4" fmla="*/ 12488 w 1118728"/>
              <a:gd name="connsiteY4" fmla="*/ 386502 h 5937775"/>
              <a:gd name="connsiteX0" fmla="*/ 286229 w 1392469"/>
              <a:gd name="connsiteY0" fmla="*/ 386502 h 6395953"/>
              <a:gd name="connsiteX1" fmla="*/ 1392469 w 1392469"/>
              <a:gd name="connsiteY1" fmla="*/ 0 h 6395953"/>
              <a:gd name="connsiteX2" fmla="*/ 1372408 w 1392469"/>
              <a:gd name="connsiteY2" fmla="*/ 4377658 h 6395953"/>
              <a:gd name="connsiteX3" fmla="*/ 0 w 1392469"/>
              <a:gd name="connsiteY3" fmla="*/ 6395953 h 6395953"/>
              <a:gd name="connsiteX4" fmla="*/ 286229 w 1392469"/>
              <a:gd name="connsiteY4" fmla="*/ 386502 h 6395953"/>
              <a:gd name="connsiteX0" fmla="*/ 0 w 1405178"/>
              <a:gd name="connsiteY0" fmla="*/ 425228 h 6395953"/>
              <a:gd name="connsiteX1" fmla="*/ 1405178 w 1405178"/>
              <a:gd name="connsiteY1" fmla="*/ 0 h 6395953"/>
              <a:gd name="connsiteX2" fmla="*/ 1385117 w 1405178"/>
              <a:gd name="connsiteY2" fmla="*/ 4377658 h 6395953"/>
              <a:gd name="connsiteX3" fmla="*/ 12709 w 1405178"/>
              <a:gd name="connsiteY3" fmla="*/ 6395953 h 6395953"/>
              <a:gd name="connsiteX4" fmla="*/ 0 w 1405178"/>
              <a:gd name="connsiteY4" fmla="*/ 425228 h 6395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5178" h="6395953">
                <a:moveTo>
                  <a:pt x="0" y="425228"/>
                </a:moveTo>
                <a:lnTo>
                  <a:pt x="1405178" y="0"/>
                </a:lnTo>
                <a:lnTo>
                  <a:pt x="1385117" y="4377658"/>
                </a:lnTo>
                <a:cubicBezTo>
                  <a:pt x="1018895" y="4897697"/>
                  <a:pt x="378931" y="5875914"/>
                  <a:pt x="12709" y="6395953"/>
                </a:cubicBezTo>
                <a:cubicBezTo>
                  <a:pt x="12709" y="4596847"/>
                  <a:pt x="0" y="2224334"/>
                  <a:pt x="0" y="425228"/>
                </a:cubicBez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6752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D25F7AE7-6644-470A-90CF-47B6F9F313F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530014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530014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27492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27492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Fusce posuere, magna sed pulvinar ultricies, purus lectus malesuada libero, sit amet commodo magna eros quis urna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249702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249702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1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36067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481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buNone/>
              <a:defRPr lang="en-US" sz="12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38589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441111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543633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E471F1E-DBD6-42B4-BC7F-68658494AEC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2B1C5B1-DD5C-46BD-9171-3F3551A3196C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CA5EF783-E964-4A68-BFA0-29D6D51481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B2A3D8-BFDF-4F41-AF46-F35B3FC27A8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7635594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C73C2D05-90CD-4A84-9996-5A713D7C0452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46442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46441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38376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38375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031084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0309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amet, consectetuer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porttitor congue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lectus </a:t>
            </a:r>
            <a:r>
              <a:rPr lang="en-US" err="1"/>
              <a:t>malesuada</a:t>
            </a:r>
            <a:r>
              <a:rPr lang="en-US"/>
              <a:t> libero, sit amet </a:t>
            </a:r>
            <a:r>
              <a:rPr lang="en-US" err="1"/>
              <a:t>commodo</a:t>
            </a:r>
            <a:r>
              <a:rPr lang="en-US"/>
              <a:t>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28322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3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buNone/>
              <a:defRPr sz="12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0898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38964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47030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F26204A4-94F4-4D0B-A32D-54BA8095E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834" y="5450885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BC8A2927-6011-4622-A038-F2F7EAC093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91363" y="5450755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7EA2F73C-E0F4-45B1-AB8F-530A19B435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5" y="55096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5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FCE79156-B96F-4F0A-B2E6-29388CAA0C8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95460F8E-68BE-4EED-81CC-C73F28ABEB6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ooter Placeholder 3">
            <a:extLst>
              <a:ext uri="{FF2B5EF4-FFF2-40B4-BE49-F238E27FC236}">
                <a16:creationId xmlns:a16="http://schemas.microsoft.com/office/drawing/2014/main" id="{18AE67F5-F98A-4F06-BBD7-E2724C877E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36C93BA-B2DB-45DF-8168-9205478FAB4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698138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0487D53-597F-4F97-AFD7-4642703C2DA0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79880F-2137-47AB-9566-C8A09E1C8E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20775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4CCA4F3-8BB7-4518-8D07-F4EBBBD39F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1955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5A37B0B-0741-485F-996D-2A2215AD59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833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DB37BA3-47E7-413A-B0E7-2CD9DCDEE8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17119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0" name="Title 3">
            <a:extLst>
              <a:ext uri="{FF2B5EF4-FFF2-40B4-BE49-F238E27FC236}">
                <a16:creationId xmlns:a16="http://schemas.microsoft.com/office/drawing/2014/main" id="{E38D729D-5227-49D7-9785-1DC1DF80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EB6EBEF1-2298-410B-9293-C27A9A420B8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EDF3697C-568B-4AA1-9EF3-9113E2541E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799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20E879FB-0ECA-4094-A26D-0870481E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1580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B7EAE9F-C1C2-4E54-947F-1DAF3E582D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361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12F1173-5541-4125-8BBE-11308C342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39143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942C6F7-BF76-41F2-9314-4E67256E96B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74E6F3-834D-466B-90E1-E0AC0A9201E5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DD6F617-9647-465D-AF6F-DC346B76746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36714-818D-4C9A-A027-DF755969998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C4FAD300-8076-4D37-8AE8-A3847079D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F763012-A5D4-4F14-B146-970A28A8F8C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3995045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6B4F6363-4D60-4208-8FEE-B7F12EDD1C51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3084D-ACDD-6849-8479-977F2DBF36CB}"/>
              </a:ext>
            </a:extLst>
          </p:cNvPr>
          <p:cNvSpPr/>
          <p:nvPr/>
        </p:nvSpPr>
        <p:spPr>
          <a:xfrm rot="5400000">
            <a:off x="5215165" y="-3348040"/>
            <a:ext cx="1759270" cy="11304000"/>
          </a:xfrm>
          <a:prstGeom prst="rect">
            <a:avLst/>
          </a:prstGeom>
          <a:gradFill>
            <a:gsLst>
              <a:gs pos="27000">
                <a:schemeClr val="accent1">
                  <a:alpha val="5000"/>
                </a:schemeClr>
              </a:gs>
              <a:gs pos="90000">
                <a:schemeClr val="accent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DF5872F-F6BC-7841-B29A-4A0024AAA7BE}"/>
              </a:ext>
            </a:extLst>
          </p:cNvPr>
          <p:cNvCxnSpPr>
            <a:cxnSpLocks/>
          </p:cNvCxnSpPr>
          <p:nvPr/>
        </p:nvCxnSpPr>
        <p:spPr>
          <a:xfrm>
            <a:off x="466722" y="3166948"/>
            <a:ext cx="11304000" cy="0"/>
          </a:xfrm>
          <a:prstGeom prst="line">
            <a:avLst/>
          </a:prstGeom>
          <a:ln w="22225" cap="sq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E84A35F3-573F-493A-9BB5-CDB1871AE1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442947" y="1779999"/>
            <a:ext cx="3348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1A7CF413-A654-4EB4-B519-46AA63AE39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71045" y="1779999"/>
            <a:ext cx="378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B4F379B-BC2F-4858-8C07-5C827C0314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31143" y="1779999"/>
            <a:ext cx="180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GB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GB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8E42CAB-23DC-47DC-8ECF-2DEDFC986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3605212"/>
            <a:ext cx="3816000" cy="259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 b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28F7AE9-B31F-43B5-8A13-DF6E9F2B3E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89832" y="3605212"/>
            <a:ext cx="4310280" cy="259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7B782AE-DD52-464C-8442-459CF5365B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31144" y="3605214"/>
            <a:ext cx="2700000" cy="72759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560374B-2FEC-4C35-99AB-CEDF599EA0B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4277" y="1512514"/>
            <a:ext cx="1723431" cy="1582892"/>
          </a:xfrm>
          <a:prstGeom prst="rect">
            <a:avLst/>
          </a:prstGeom>
          <a:blipFill>
            <a:blip r:embed="rId4"/>
            <a:stretch>
              <a:fillRect t="-13941" b="-37632"/>
            </a:stretch>
          </a:blipFill>
        </p:spPr>
        <p:txBody>
          <a:bodyPr/>
          <a:lstStyle>
            <a:lvl1pPr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215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6B4F6363-4D60-4208-8FEE-B7F12EDD1C51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E84A35F3-573F-493A-9BB5-CDB1871AE1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442947" y="1779999"/>
            <a:ext cx="3348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1A7CF413-A654-4EB4-B519-46AA63AE39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71045" y="1779999"/>
            <a:ext cx="378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B4F379B-BC2F-4858-8C07-5C827C0314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31143" y="1779999"/>
            <a:ext cx="180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GB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GB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8E42CAB-23DC-47DC-8ECF-2DEDFC986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3605212"/>
            <a:ext cx="3816000" cy="259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 b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28F7AE9-B31F-43B5-8A13-DF6E9F2B3E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89832" y="3605212"/>
            <a:ext cx="4310280" cy="259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7B782AE-DD52-464C-8442-459CF5365B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31144" y="3605214"/>
            <a:ext cx="2700000" cy="72759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40" name="Picture Placeholder 16">
            <a:extLst>
              <a:ext uri="{FF2B5EF4-FFF2-40B4-BE49-F238E27FC236}">
                <a16:creationId xmlns:a16="http://schemas.microsoft.com/office/drawing/2014/main" id="{4E722CF8-E930-4BEA-A60F-E0E575C70C7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64302" y="155545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accent2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3301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1DB09EE-E3C0-42FD-A544-DC5343F278E7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2777213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409A921-69CE-4E73-8C64-4D322B88B0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65DC36-62B1-4EA9-8B58-1F8769E3773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938753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ad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8ECDA57-4871-4435-81EA-BBB8E5FB261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20BDA3C6-2C55-4EC0-92A0-2FA57310BA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81011" y="1617885"/>
            <a:ext cx="1224430" cy="1298310"/>
          </a:xfrm>
          <a:prstGeom prst="rect">
            <a:avLst/>
          </a:pr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ln w="31750">
            <a:noFill/>
          </a:ln>
          <a:effectLst/>
        </p:spPr>
        <p:txBody>
          <a:bodyPr wrap="square" lIns="72000" anchor="t" anchorCtr="0">
            <a:noAutofit/>
          </a:bodyPr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Insert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B4BFA0FB-D432-426F-97B1-7818E2426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4762EA-DFCD-4F24-9797-407D63DA917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2414925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xagon Head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25C197D-310C-47A9-8449-B4DBCA42512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DFB4B834-C56F-490A-BC1C-C54AB928B9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61536" y="151853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ln w="15875">
            <a:solidFill>
              <a:srgbClr val="00AECF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1CF07C63-A834-4BF2-9FCB-33E559B5F4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B678BD-E31D-4A5B-A4E4-810EC221D82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6764481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B9B8EA-2AC0-486B-955D-5AFD90844E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E7F6BA-6FF3-4807-A992-128446656EBE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763077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xagon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145BBAF5-9F92-4F54-8CD3-F45AB97454E0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8EA4DB-4218-498A-AEC4-23CC43FE457F}"/>
              </a:ext>
            </a:extLst>
          </p:cNvPr>
          <p:cNvSpPr/>
          <p:nvPr userDrawn="1"/>
        </p:nvSpPr>
        <p:spPr>
          <a:xfrm>
            <a:off x="4490359" y="2049775"/>
            <a:ext cx="1592941" cy="1808204"/>
          </a:xfrm>
          <a:custGeom>
            <a:avLst/>
            <a:gdLst>
              <a:gd name="connsiteX0" fmla="*/ 1606503 w 1592941"/>
              <a:gd name="connsiteY0" fmla="*/ 0 h 1808203"/>
              <a:gd name="connsiteX1" fmla="*/ 1606503 w 1592941"/>
              <a:gd name="connsiteY1" fmla="*/ 1358090 h 1808203"/>
              <a:gd name="connsiteX2" fmla="*/ 972555 w 1592941"/>
              <a:gd name="connsiteY2" fmla="*/ 1804114 h 1808203"/>
              <a:gd name="connsiteX3" fmla="*/ 972555 w 1592941"/>
              <a:gd name="connsiteY3" fmla="*/ 1809065 h 1808203"/>
              <a:gd name="connsiteX4" fmla="*/ 0 w 1592941"/>
              <a:gd name="connsiteY4" fmla="*/ 1130127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941" h="1808203">
                <a:moveTo>
                  <a:pt x="1606503" y="0"/>
                </a:moveTo>
                <a:lnTo>
                  <a:pt x="1606503" y="1358090"/>
                </a:lnTo>
                <a:lnTo>
                  <a:pt x="972555" y="1804114"/>
                </a:lnTo>
                <a:lnTo>
                  <a:pt x="972555" y="1809065"/>
                </a:lnTo>
                <a:lnTo>
                  <a:pt x="0" y="1130127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68B9C2E-6668-4C07-95F1-CB22EEC5D65E}"/>
              </a:ext>
            </a:extLst>
          </p:cNvPr>
          <p:cNvSpPr/>
          <p:nvPr userDrawn="1"/>
        </p:nvSpPr>
        <p:spPr>
          <a:xfrm>
            <a:off x="6096862" y="2046977"/>
            <a:ext cx="1614467" cy="1808204"/>
          </a:xfrm>
          <a:custGeom>
            <a:avLst/>
            <a:gdLst>
              <a:gd name="connsiteX0" fmla="*/ 1615113 w 1614467"/>
              <a:gd name="connsiteY0" fmla="*/ 1138953 h 1808203"/>
              <a:gd name="connsiteX1" fmla="*/ 1615113 w 1614467"/>
              <a:gd name="connsiteY1" fmla="*/ 1139168 h 1808203"/>
              <a:gd name="connsiteX2" fmla="*/ 633947 w 1614467"/>
              <a:gd name="connsiteY2" fmla="*/ 1818321 h 1808203"/>
              <a:gd name="connsiteX3" fmla="*/ 633947 w 1614467"/>
              <a:gd name="connsiteY3" fmla="*/ 1806912 h 1808203"/>
              <a:gd name="connsiteX4" fmla="*/ 1507 w 1614467"/>
              <a:gd name="connsiteY4" fmla="*/ 1359812 h 1808203"/>
              <a:gd name="connsiteX5" fmla="*/ 0 w 1614467"/>
              <a:gd name="connsiteY5" fmla="*/ 1360889 h 1808203"/>
              <a:gd name="connsiteX6" fmla="*/ 0 w 1614467"/>
              <a:gd name="connsiteY6" fmla="*/ 2798 h 1808203"/>
              <a:gd name="connsiteX7" fmla="*/ 3875 w 1614467"/>
              <a:gd name="connsiteY7" fmla="*/ 0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4467" h="1808203">
                <a:moveTo>
                  <a:pt x="1615113" y="1138953"/>
                </a:moveTo>
                <a:lnTo>
                  <a:pt x="1615113" y="1139168"/>
                </a:lnTo>
                <a:lnTo>
                  <a:pt x="633947" y="1818321"/>
                </a:lnTo>
                <a:lnTo>
                  <a:pt x="633947" y="1806912"/>
                </a:lnTo>
                <a:lnTo>
                  <a:pt x="1507" y="1359812"/>
                </a:lnTo>
                <a:lnTo>
                  <a:pt x="0" y="1360889"/>
                </a:lnTo>
                <a:lnTo>
                  <a:pt x="0" y="2798"/>
                </a:lnTo>
                <a:lnTo>
                  <a:pt x="3875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2C4371-8AB2-4223-BBB9-9B8FF4C11085}"/>
              </a:ext>
            </a:extLst>
          </p:cNvPr>
          <p:cNvSpPr/>
          <p:nvPr userDrawn="1"/>
        </p:nvSpPr>
        <p:spPr>
          <a:xfrm>
            <a:off x="6722414" y="3186145"/>
            <a:ext cx="968680" cy="2238728"/>
          </a:xfrm>
          <a:custGeom>
            <a:avLst/>
            <a:gdLst>
              <a:gd name="connsiteX0" fmla="*/ 989561 w 968680"/>
              <a:gd name="connsiteY0" fmla="*/ 0 h 2238728"/>
              <a:gd name="connsiteX1" fmla="*/ 989561 w 968680"/>
              <a:gd name="connsiteY1" fmla="*/ 2238083 h 2238728"/>
              <a:gd name="connsiteX2" fmla="*/ 986117 w 968680"/>
              <a:gd name="connsiteY2" fmla="*/ 2240451 h 2238728"/>
              <a:gd name="connsiteX3" fmla="*/ 0 w 968680"/>
              <a:gd name="connsiteY3" fmla="*/ 1552041 h 2238728"/>
              <a:gd name="connsiteX4" fmla="*/ 8395 w 968680"/>
              <a:gd name="connsiteY4" fmla="*/ 1546229 h 2238728"/>
              <a:gd name="connsiteX5" fmla="*/ 8395 w 968680"/>
              <a:gd name="connsiteY5" fmla="*/ 679153 h 223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8680" h="2238728">
                <a:moveTo>
                  <a:pt x="989561" y="0"/>
                </a:moveTo>
                <a:lnTo>
                  <a:pt x="989561" y="2238083"/>
                </a:lnTo>
                <a:lnTo>
                  <a:pt x="986117" y="2240451"/>
                </a:lnTo>
                <a:lnTo>
                  <a:pt x="0" y="1552041"/>
                </a:lnTo>
                <a:lnTo>
                  <a:pt x="8395" y="1546229"/>
                </a:lnTo>
                <a:lnTo>
                  <a:pt x="8395" y="679153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4ECC8C-1257-4D1B-B1F3-8689EED79010}"/>
              </a:ext>
            </a:extLst>
          </p:cNvPr>
          <p:cNvSpPr/>
          <p:nvPr userDrawn="1"/>
        </p:nvSpPr>
        <p:spPr>
          <a:xfrm>
            <a:off x="6096862" y="4738186"/>
            <a:ext cx="1592941" cy="1765151"/>
          </a:xfrm>
          <a:custGeom>
            <a:avLst/>
            <a:gdLst>
              <a:gd name="connsiteX0" fmla="*/ 1611669 w 1592941"/>
              <a:gd name="connsiteY0" fmla="*/ 688409 h 1765151"/>
              <a:gd name="connsiteX1" fmla="*/ 0 w 1592941"/>
              <a:gd name="connsiteY1" fmla="*/ 1785386 h 1765151"/>
              <a:gd name="connsiteX2" fmla="*/ 0 w 1592941"/>
              <a:gd name="connsiteY2" fmla="*/ 425574 h 1765151"/>
              <a:gd name="connsiteX3" fmla="*/ 625552 w 1592941"/>
              <a:gd name="connsiteY3" fmla="*/ 0 h 176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65151">
                <a:moveTo>
                  <a:pt x="1611669" y="688409"/>
                </a:moveTo>
                <a:lnTo>
                  <a:pt x="0" y="1785386"/>
                </a:lnTo>
                <a:lnTo>
                  <a:pt x="0" y="425574"/>
                </a:lnTo>
                <a:lnTo>
                  <a:pt x="625552" y="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D7F8349-ACC4-4383-99B6-33AAF0248346}"/>
              </a:ext>
            </a:extLst>
          </p:cNvPr>
          <p:cNvSpPr/>
          <p:nvPr userDrawn="1"/>
        </p:nvSpPr>
        <p:spPr>
          <a:xfrm>
            <a:off x="4489713" y="4734957"/>
            <a:ext cx="1592941" cy="1786677"/>
          </a:xfrm>
          <a:custGeom>
            <a:avLst/>
            <a:gdLst>
              <a:gd name="connsiteX0" fmla="*/ 1607149 w 1592941"/>
              <a:gd name="connsiteY0" fmla="*/ 428803 h 1786677"/>
              <a:gd name="connsiteX1" fmla="*/ 1607149 w 1592941"/>
              <a:gd name="connsiteY1" fmla="*/ 1788615 h 1786677"/>
              <a:gd name="connsiteX2" fmla="*/ 0 w 1592941"/>
              <a:gd name="connsiteY2" fmla="*/ 681521 h 1786677"/>
              <a:gd name="connsiteX3" fmla="*/ 984610 w 1592941"/>
              <a:gd name="connsiteY3" fmla="*/ 0 h 1786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86677">
                <a:moveTo>
                  <a:pt x="1607149" y="428803"/>
                </a:moveTo>
                <a:lnTo>
                  <a:pt x="1607149" y="1788615"/>
                </a:lnTo>
                <a:lnTo>
                  <a:pt x="0" y="681521"/>
                </a:lnTo>
                <a:lnTo>
                  <a:pt x="984610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1F91A86-A4FE-4EEA-95A9-ABA2D725D4B1}"/>
              </a:ext>
            </a:extLst>
          </p:cNvPr>
          <p:cNvSpPr/>
          <p:nvPr userDrawn="1"/>
        </p:nvSpPr>
        <p:spPr>
          <a:xfrm>
            <a:off x="4481748" y="3179902"/>
            <a:ext cx="990207" cy="2217202"/>
          </a:xfrm>
          <a:custGeom>
            <a:avLst/>
            <a:gdLst>
              <a:gd name="connsiteX0" fmla="*/ 992575 w 990206"/>
              <a:gd name="connsiteY0" fmla="*/ 1555055 h 2217202"/>
              <a:gd name="connsiteX1" fmla="*/ 7965 w 990206"/>
              <a:gd name="connsiteY1" fmla="*/ 2236576 h 2217202"/>
              <a:gd name="connsiteX2" fmla="*/ 0 w 990206"/>
              <a:gd name="connsiteY2" fmla="*/ 2231194 h 2217202"/>
              <a:gd name="connsiteX3" fmla="*/ 0 w 990206"/>
              <a:gd name="connsiteY3" fmla="*/ 6027 h 2217202"/>
              <a:gd name="connsiteX4" fmla="*/ 8610 w 990206"/>
              <a:gd name="connsiteY4" fmla="*/ 0 h 2217202"/>
              <a:gd name="connsiteX5" fmla="*/ 981166 w 990206"/>
              <a:gd name="connsiteY5" fmla="*/ 678937 h 2217202"/>
              <a:gd name="connsiteX6" fmla="*/ 981166 w 990206"/>
              <a:gd name="connsiteY6" fmla="*/ 1547091 h 22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06" h="2217202">
                <a:moveTo>
                  <a:pt x="992575" y="1555055"/>
                </a:moveTo>
                <a:lnTo>
                  <a:pt x="7965" y="2236576"/>
                </a:lnTo>
                <a:lnTo>
                  <a:pt x="0" y="2231194"/>
                </a:lnTo>
                <a:lnTo>
                  <a:pt x="0" y="6027"/>
                </a:lnTo>
                <a:lnTo>
                  <a:pt x="8610" y="0"/>
                </a:lnTo>
                <a:lnTo>
                  <a:pt x="981166" y="678937"/>
                </a:lnTo>
                <a:lnTo>
                  <a:pt x="981166" y="1547091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 userDrawn="1"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9C2C73CC-7BBA-4AB5-9F31-7A9948DD02C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ACF8BC36-C25E-4E14-81DD-43E6AD7F43E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2799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47" name="Text Placeholder 22">
            <a:extLst>
              <a:ext uri="{FF2B5EF4-FFF2-40B4-BE49-F238E27FC236}">
                <a16:creationId xmlns:a16="http://schemas.microsoft.com/office/drawing/2014/main" id="{8ED2000C-3948-4295-8AB2-77B8EA5FC36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42799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CAEC8480-4C52-4DF4-9AA5-B6002C4CF189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42799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0" name="Text Placeholder 22">
            <a:extLst>
              <a:ext uri="{FF2B5EF4-FFF2-40B4-BE49-F238E27FC236}">
                <a16:creationId xmlns:a16="http://schemas.microsoft.com/office/drawing/2014/main" id="{CC93A6C9-814A-45DA-9A94-78668198253B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42799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1" name="Text Placeholder 22">
            <a:extLst>
              <a:ext uri="{FF2B5EF4-FFF2-40B4-BE49-F238E27FC236}">
                <a16:creationId xmlns:a16="http://schemas.microsoft.com/office/drawing/2014/main" id="{BCC769DA-6390-4C7E-A4D7-0169214C1BD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42799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17FB0337-BD14-4336-B29B-3DCE71A60C79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8316410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663F0B75-7DCF-4676-8D96-0F13787305EA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8316410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772D1169-69D6-46E6-8422-F6D62FEC420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16410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325DA6B-3F84-4F11-8E5F-18FF0C5E2C04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8316410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69" name="Text Placeholder 22">
            <a:extLst>
              <a:ext uri="{FF2B5EF4-FFF2-40B4-BE49-F238E27FC236}">
                <a16:creationId xmlns:a16="http://schemas.microsoft.com/office/drawing/2014/main" id="{F3D91CB9-9423-4706-8307-13B75842526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316410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70" name="Text Placeholder 22">
            <a:extLst>
              <a:ext uri="{FF2B5EF4-FFF2-40B4-BE49-F238E27FC236}">
                <a16:creationId xmlns:a16="http://schemas.microsoft.com/office/drawing/2014/main" id="{BBDBFD81-3F25-45C4-931C-C83C44642FA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16410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71" name="Text Placeholder 22">
            <a:extLst>
              <a:ext uri="{FF2B5EF4-FFF2-40B4-BE49-F238E27FC236}">
                <a16:creationId xmlns:a16="http://schemas.microsoft.com/office/drawing/2014/main" id="{8AF38639-9E42-4E6E-B553-2E71FACE72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 rot="19506392">
            <a:off x="4707211" y="2532499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2" name="Text Placeholder 22">
            <a:extLst>
              <a:ext uri="{FF2B5EF4-FFF2-40B4-BE49-F238E27FC236}">
                <a16:creationId xmlns:a16="http://schemas.microsoft.com/office/drawing/2014/main" id="{79D5FF8B-3DD9-4FCF-BC25-11B5B708C5C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 rot="2116930">
            <a:off x="5943838" y="252371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3" name="Text Placeholder 22">
            <a:extLst>
              <a:ext uri="{FF2B5EF4-FFF2-40B4-BE49-F238E27FC236}">
                <a16:creationId xmlns:a16="http://schemas.microsoft.com/office/drawing/2014/main" id="{D62B37A5-61DE-4BC5-AC73-372745F00D3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 rot="5400000">
            <a:off x="6525291" y="3822312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4" name="Text Placeholder 22">
            <a:extLst>
              <a:ext uri="{FF2B5EF4-FFF2-40B4-BE49-F238E27FC236}">
                <a16:creationId xmlns:a16="http://schemas.microsoft.com/office/drawing/2014/main" id="{BF3E3C32-F259-4D5B-A786-01B702121B05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 rot="19561147">
            <a:off x="5958993" y="510039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>
            <a:extLst>
              <a:ext uri="{FF2B5EF4-FFF2-40B4-BE49-F238E27FC236}">
                <a16:creationId xmlns:a16="http://schemas.microsoft.com/office/drawing/2014/main" id="{C177F396-C670-417E-A13A-5F5DC906BB47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 rot="2089401">
            <a:off x="4714637" y="5104414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6" name="Text Placeholder 22">
            <a:extLst>
              <a:ext uri="{FF2B5EF4-FFF2-40B4-BE49-F238E27FC236}">
                <a16:creationId xmlns:a16="http://schemas.microsoft.com/office/drawing/2014/main" id="{4B383110-BE85-43CD-BC20-B568C760864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 rot="16200000">
            <a:off x="4110812" y="3845473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1272E3C2-33B0-42F0-98CB-8C8C243BF37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6052DF19-9D96-4A54-8FA3-46C146C0B5F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F5943707-01DA-43C9-BA1F-E7EE0E7D235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2" name="Footer Placeholder 3">
            <a:extLst>
              <a:ext uri="{FF2B5EF4-FFF2-40B4-BE49-F238E27FC236}">
                <a16:creationId xmlns:a16="http://schemas.microsoft.com/office/drawing/2014/main" id="{70C02C76-34C0-477D-9B7A-973364A4E2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5A932B5-1139-4503-A7E7-6CD9AAADD06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806482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0AF48DA9-E99B-4AAD-8AED-1F315BB61CAB}"/>
              </a:ext>
            </a:extLst>
          </p:cNvPr>
          <p:cNvSpPr/>
          <p:nvPr userDrawn="1"/>
        </p:nvSpPr>
        <p:spPr>
          <a:xfrm rot="5400000">
            <a:off x="0" y="1"/>
            <a:ext cx="3815466" cy="3815466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7132858-3690-C942-AE55-74072A035C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"/>
            <a:ext cx="5711211" cy="6857999"/>
          </a:xfrm>
          <a:custGeom>
            <a:avLst/>
            <a:gdLst>
              <a:gd name="connsiteX0" fmla="*/ 3888681 w 5711211"/>
              <a:gd name="connsiteY0" fmla="*/ 0 h 6857999"/>
              <a:gd name="connsiteX1" fmla="*/ 5711211 w 5711211"/>
              <a:gd name="connsiteY1" fmla="*/ 0 h 6857999"/>
              <a:gd name="connsiteX2" fmla="*/ 5711211 w 5711211"/>
              <a:gd name="connsiteY2" fmla="*/ 4103993 h 6857999"/>
              <a:gd name="connsiteX3" fmla="*/ 1739709 w 5711211"/>
              <a:gd name="connsiteY3" fmla="*/ 6857999 h 6857999"/>
              <a:gd name="connsiteX4" fmla="*/ 0 w 5711211"/>
              <a:gd name="connsiteY4" fmla="*/ 6857999 h 6857999"/>
              <a:gd name="connsiteX5" fmla="*/ 0 w 5711211"/>
              <a:gd name="connsiteY5" fmla="*/ 271410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1211" h="6857999">
                <a:moveTo>
                  <a:pt x="3888681" y="0"/>
                </a:moveTo>
                <a:lnTo>
                  <a:pt x="5711211" y="0"/>
                </a:lnTo>
                <a:lnTo>
                  <a:pt x="5711211" y="4103993"/>
                </a:lnTo>
                <a:lnTo>
                  <a:pt x="1739709" y="6857999"/>
                </a:lnTo>
                <a:lnTo>
                  <a:pt x="0" y="6857999"/>
                </a:lnTo>
                <a:lnTo>
                  <a:pt x="0" y="2714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2414" y="2259127"/>
            <a:ext cx="4004633" cy="3810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Subtitle goes here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2D878DF-45CE-48C4-ADBA-897AA41158B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F0A4E75-D008-4A3D-9E2B-EFA56AA2C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3100375"/>
            <a:ext cx="4004632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850966A-A907-44E5-AD4A-B2C25296B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42415" y="4550622"/>
            <a:ext cx="4004632" cy="581046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CF0C42AB-56AB-4CD9-BC29-E642601C21CA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Freeform: Shape 38">
            <a:extLst>
              <a:ext uri="{FF2B5EF4-FFF2-40B4-BE49-F238E27FC236}">
                <a16:creationId xmlns:a16="http://schemas.microsoft.com/office/drawing/2014/main" id="{64FAF79B-779C-47A3-89F1-134187E543EF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96DC3D-7488-477F-B5D0-C4E18D0F845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9325244" y="6480000"/>
            <a:ext cx="2396518" cy="123111"/>
          </a:xfrm>
        </p:spPr>
        <p:txBody>
          <a:bodyPr/>
          <a:lstStyle/>
          <a:p>
            <a:pPr algn="r"/>
            <a:r>
              <a:rPr lang="en-US">
                <a:ea typeface="Cambria" panose="02040503050406030204" pitchFamily="18" charset="0"/>
                <a:cs typeface="Calibri" charset="0"/>
              </a:rPr>
              <a:t>© 2022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92678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hombu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98514DF3-2565-4D9A-BBC5-70C09D78F24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E4203-08E6-4418-AD09-B8D9334C0A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109" name="Text Placeholder 22">
            <a:extLst>
              <a:ext uri="{FF2B5EF4-FFF2-40B4-BE49-F238E27FC236}">
                <a16:creationId xmlns:a16="http://schemas.microsoft.com/office/drawing/2014/main" id="{FBCEB81F-942E-4E7A-BE5F-A71E6B6C7C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531667">
            <a:off x="6418611" y="429946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4" name="Text Placeholder 22">
            <a:extLst>
              <a:ext uri="{FF2B5EF4-FFF2-40B4-BE49-F238E27FC236}">
                <a16:creationId xmlns:a16="http://schemas.microsoft.com/office/drawing/2014/main" id="{5739B760-04F1-4E96-9625-86162A2402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2012338">
            <a:off x="4209576" y="426907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7" name="Text Placeholder 22">
            <a:extLst>
              <a:ext uri="{FF2B5EF4-FFF2-40B4-BE49-F238E27FC236}">
                <a16:creationId xmlns:a16="http://schemas.microsoft.com/office/drawing/2014/main" id="{474ED7E6-58E4-4601-9048-F4C3A2B3CC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2090804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62163FF3-A63D-42A2-B8D8-9D1C745B0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9584229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F03B141-FBCC-436D-AD9E-F8C15119CD63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0AE0952-39FD-4454-AAE2-8F8D4080584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166203CE-87B2-4997-9914-45C7469F3E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F824F2-B806-4A94-975B-1090A135866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6695234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0435A45-8C6C-4A21-A06B-488E748A9CE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00AECF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10548C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FF555F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6B5300-F1CB-4EEB-8CC9-08A24B4A917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88657" y="2232878"/>
            <a:ext cx="1944000" cy="18720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E8187A81-DCD4-420F-A0D8-52FE345F75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7E4039A-915B-41DC-A4D1-8E2D00283E4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5BD438B-55CB-42C1-B923-77D8B42E690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D0E62E42-E5B5-4D67-854C-182B2B1B94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E9E16FD-31D4-403C-98C8-58ACE1EB9DC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614C4F9-57DD-410E-BC94-BCE40DDA85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81219" y="2232878"/>
            <a:ext cx="1944000" cy="1872000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97A3EC-F218-4325-BAC9-F15E16EFBD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88657" y="4246307"/>
            <a:ext cx="1944000" cy="187200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F840943-A169-4345-A64D-496EA67778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1219" y="4246307"/>
            <a:ext cx="1944000" cy="187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11545476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CD05D69A-5D1E-41AB-A32E-404585972AA7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340F2F0-C5F1-4AB4-8DA4-3433AB32CA09}"/>
              </a:ext>
            </a:extLst>
          </p:cNvPr>
          <p:cNvSpPr/>
          <p:nvPr/>
        </p:nvSpPr>
        <p:spPr>
          <a:xfrm>
            <a:off x="442800" y="3969892"/>
            <a:ext cx="2592000" cy="214621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FED55F9B-215F-46F1-8BF2-58FAE022CE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799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8" name="Picture Placeholder 2">
            <a:extLst>
              <a:ext uri="{FF2B5EF4-FFF2-40B4-BE49-F238E27FC236}">
                <a16:creationId xmlns:a16="http://schemas.microsoft.com/office/drawing/2014/main" id="{E10A83AB-065A-479D-832E-DAF6AA362A5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45617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9ED5828F-8F6F-4738-BC10-43B225486D5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40364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E738D5B4-41AD-47FF-B2C3-F953D2665B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51252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63F5F59-A06F-4A43-B481-AC3D078E4175}"/>
              </a:ext>
            </a:extLst>
          </p:cNvPr>
          <p:cNvCxnSpPr>
            <a:cxnSpLocks/>
          </p:cNvCxnSpPr>
          <p:nvPr/>
        </p:nvCxnSpPr>
        <p:spPr>
          <a:xfrm>
            <a:off x="595799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">
            <a:extLst>
              <a:ext uri="{FF2B5EF4-FFF2-40B4-BE49-F238E27FC236}">
                <a16:creationId xmlns:a16="http://schemas.microsoft.com/office/drawing/2014/main" id="{880895D5-6A9D-45D9-84A5-B48C071F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17A71A41-DCC6-44B5-8D6D-901E7A96F64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B7ADF330-AE85-40DE-835E-B49449314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17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D17ECCBE-9451-4EF2-9377-41ED7F99F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9173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3BA6191-995D-4A8B-8097-1BCD8EA9E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2E4D74C-410E-483B-833E-4D7AE804ABE2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883744C2-8338-4510-922E-8171C1DBABC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42B4048-3937-457B-8213-80A2A3628E05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5" name="Footer Placeholder 3">
            <a:extLst>
              <a:ext uri="{FF2B5EF4-FFF2-40B4-BE49-F238E27FC236}">
                <a16:creationId xmlns:a16="http://schemas.microsoft.com/office/drawing/2014/main" id="{D9EBCE9F-1CDE-44DC-9CF1-533B6C4977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D7BBE5E-1B61-4CA3-801A-918DA43350A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AD6BED7-E2E8-48E7-B6C3-3D790921CE02}"/>
              </a:ext>
            </a:extLst>
          </p:cNvPr>
          <p:cNvSpPr/>
          <p:nvPr userDrawn="1"/>
        </p:nvSpPr>
        <p:spPr>
          <a:xfrm>
            <a:off x="3341581" y="3969892"/>
            <a:ext cx="2592000" cy="214621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48163F1-E4CF-4E7D-A5AC-7F557B9F9888}"/>
              </a:ext>
            </a:extLst>
          </p:cNvPr>
          <p:cNvCxnSpPr>
            <a:cxnSpLocks/>
          </p:cNvCxnSpPr>
          <p:nvPr userDrawn="1"/>
        </p:nvCxnSpPr>
        <p:spPr>
          <a:xfrm>
            <a:off x="349305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D4DD34B9-07B3-45D6-A5BF-05306FFE4D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7642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445A936B-6A9C-4882-8BF5-60F2E1365B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7642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818D70A-6530-4BDD-B6BD-0AF00ED04C6D}"/>
              </a:ext>
            </a:extLst>
          </p:cNvPr>
          <p:cNvSpPr/>
          <p:nvPr userDrawn="1"/>
        </p:nvSpPr>
        <p:spPr>
          <a:xfrm>
            <a:off x="6240362" y="3969892"/>
            <a:ext cx="2592000" cy="214621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3D0D619-ECCB-4AFE-A59F-858FA4BFBE68}"/>
              </a:ext>
            </a:extLst>
          </p:cNvPr>
          <p:cNvCxnSpPr>
            <a:cxnSpLocks/>
          </p:cNvCxnSpPr>
          <p:nvPr userDrawn="1"/>
        </p:nvCxnSpPr>
        <p:spPr>
          <a:xfrm>
            <a:off x="639336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2">
            <a:extLst>
              <a:ext uri="{FF2B5EF4-FFF2-40B4-BE49-F238E27FC236}">
                <a16:creationId xmlns:a16="http://schemas.microsoft.com/office/drawing/2014/main" id="{F1F9C027-3BB0-4222-86AF-4FB620642C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7673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1" name="Text Placeholder 22">
            <a:extLst>
              <a:ext uri="{FF2B5EF4-FFF2-40B4-BE49-F238E27FC236}">
                <a16:creationId xmlns:a16="http://schemas.microsoft.com/office/drawing/2014/main" id="{13334C41-9D92-43F9-9466-EC60629C93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673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7251D0E-07EF-48AE-B28B-8B7FE9960262}"/>
              </a:ext>
            </a:extLst>
          </p:cNvPr>
          <p:cNvSpPr/>
          <p:nvPr userDrawn="1"/>
        </p:nvSpPr>
        <p:spPr>
          <a:xfrm>
            <a:off x="9139143" y="3969892"/>
            <a:ext cx="2592000" cy="214621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E8C4562-237D-43E7-9629-0C9E2F6F24A4}"/>
              </a:ext>
            </a:extLst>
          </p:cNvPr>
          <p:cNvCxnSpPr>
            <a:cxnSpLocks/>
          </p:cNvCxnSpPr>
          <p:nvPr userDrawn="1"/>
        </p:nvCxnSpPr>
        <p:spPr>
          <a:xfrm>
            <a:off x="929214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2">
            <a:extLst>
              <a:ext uri="{FF2B5EF4-FFF2-40B4-BE49-F238E27FC236}">
                <a16:creationId xmlns:a16="http://schemas.microsoft.com/office/drawing/2014/main" id="{181F6102-B745-4818-A0BA-504371F26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7551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2C37B76-7729-4001-A7C4-B08D2F98971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7551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2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w/ Ic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0764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48473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0764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09B9F4C-9DEC-4C04-B351-C0AF80F0C2A2}"/>
              </a:ext>
            </a:extLst>
          </p:cNvPr>
          <p:cNvSpPr/>
          <p:nvPr userDrawn="1"/>
        </p:nvSpPr>
        <p:spPr>
          <a:xfrm>
            <a:off x="5348713" y="369031"/>
            <a:ext cx="377904" cy="521508"/>
          </a:xfrm>
          <a:custGeom>
            <a:avLst/>
            <a:gdLst>
              <a:gd name="connsiteX0" fmla="*/ 0 w 1600010"/>
              <a:gd name="connsiteY0" fmla="*/ 564484 h 2208014"/>
              <a:gd name="connsiteX1" fmla="*/ 801499 w 1600010"/>
              <a:gd name="connsiteY1" fmla="*/ 0 h 2208014"/>
              <a:gd name="connsiteX2" fmla="*/ 1600650 w 1600010"/>
              <a:gd name="connsiteY2" fmla="*/ 564484 h 2208014"/>
              <a:gd name="connsiteX3" fmla="*/ 1600650 w 1600010"/>
              <a:gd name="connsiteY3" fmla="*/ 1673611 h 2208014"/>
              <a:gd name="connsiteX4" fmla="*/ 800325 w 1600010"/>
              <a:gd name="connsiteY4" fmla="*/ 2218361 h 2208014"/>
              <a:gd name="connsiteX5" fmla="*/ 0 w 1600010"/>
              <a:gd name="connsiteY5" fmla="*/ 1666998 h 2208014"/>
              <a:gd name="connsiteX6" fmla="*/ 0 w 1600010"/>
              <a:gd name="connsiteY6" fmla="*/ 564484 h 2208014"/>
              <a:gd name="connsiteX7" fmla="*/ 0 w 1600010"/>
              <a:gd name="connsiteY7" fmla="*/ 564484 h 2208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00010" h="2208014">
                <a:moveTo>
                  <a:pt x="0" y="564484"/>
                </a:moveTo>
                <a:lnTo>
                  <a:pt x="801499" y="0"/>
                </a:lnTo>
                <a:lnTo>
                  <a:pt x="1600650" y="564484"/>
                </a:lnTo>
                <a:lnTo>
                  <a:pt x="1600650" y="1673611"/>
                </a:lnTo>
                <a:lnTo>
                  <a:pt x="800325" y="2218361"/>
                </a:lnTo>
                <a:lnTo>
                  <a:pt x="0" y="1666998"/>
                </a:lnTo>
                <a:lnTo>
                  <a:pt x="0" y="564484"/>
                </a:lnTo>
                <a:lnTo>
                  <a:pt x="0" y="56448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1F1A1A7D-1BE7-41E8-AC2D-AE6B08947B2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04315" y="477385"/>
            <a:ext cx="266700" cy="3048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EE4C06B-38BA-4258-A35B-A740ADC05DF2}"/>
              </a:ext>
            </a:extLst>
          </p:cNvPr>
          <p:cNvGrpSpPr/>
          <p:nvPr userDrawn="1"/>
        </p:nvGrpSpPr>
        <p:grpSpPr>
          <a:xfrm>
            <a:off x="5376422" y="4427669"/>
            <a:ext cx="377904" cy="521508"/>
            <a:chOff x="5302993" y="4340636"/>
            <a:chExt cx="377904" cy="52150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0BBA3B-007E-49C2-B8B9-A965F9165FC7}"/>
                </a:ext>
              </a:extLst>
            </p:cNvPr>
            <p:cNvSpPr/>
            <p:nvPr userDrawn="1"/>
          </p:nvSpPr>
          <p:spPr>
            <a:xfrm>
              <a:off x="5302993" y="434063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C001C4-EE98-4465-8B7B-D8A818ED69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367950" y="4472435"/>
              <a:ext cx="247990" cy="25791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F5648FF-6840-4E1E-B545-5ECC7A2C57F2}"/>
              </a:ext>
            </a:extLst>
          </p:cNvPr>
          <p:cNvGrpSpPr/>
          <p:nvPr userDrawn="1"/>
        </p:nvGrpSpPr>
        <p:grpSpPr>
          <a:xfrm>
            <a:off x="5348713" y="2408983"/>
            <a:ext cx="377904" cy="521508"/>
            <a:chOff x="5302993" y="2446026"/>
            <a:chExt cx="377904" cy="521508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056E5A-50B8-4FF1-9AD8-E4003692D263}"/>
                </a:ext>
              </a:extLst>
            </p:cNvPr>
            <p:cNvSpPr/>
            <p:nvPr userDrawn="1"/>
          </p:nvSpPr>
          <p:spPr>
            <a:xfrm>
              <a:off x="5302993" y="244602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9936D8-E816-4D48-9BE0-BF3EFC24B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379372" y="2567719"/>
              <a:ext cx="225147" cy="278123"/>
            </a:xfrm>
            <a:prstGeom prst="rect">
              <a:avLst/>
            </a:prstGeom>
          </p:spPr>
        </p:pic>
      </p:grp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5397" y="-113833"/>
            <a:ext cx="4772841" cy="6858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172538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160" y="2408983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8869" y="4427669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1160" y="390296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5242" y="-1594"/>
            <a:ext cx="4772841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7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05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9C8454E-BB72-479B-8325-AC89FEA19C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02" y="136604"/>
            <a:ext cx="12192000" cy="6857999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E1BFC2F-99FE-45E8-9D6F-546CAB2241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EECBC3-0434-4E5B-80EB-F18E5858D660}"/>
              </a:ext>
            </a:extLst>
          </p:cNvPr>
          <p:cNvCxnSpPr>
            <a:cxnSpLocks/>
          </p:cNvCxnSpPr>
          <p:nvPr userDrawn="1"/>
        </p:nvCxnSpPr>
        <p:spPr>
          <a:xfrm>
            <a:off x="442799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34">
            <a:extLst>
              <a:ext uri="{FF2B5EF4-FFF2-40B4-BE49-F238E27FC236}">
                <a16:creationId xmlns:a16="http://schemas.microsoft.com/office/drawing/2014/main" id="{5A1ED52C-F219-40BD-AD78-26E909BD31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2799" y="3565604"/>
            <a:ext cx="2810216" cy="1168340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BECDE2C7-ADDA-481D-93A9-E61494A648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9C7DB8-50DE-4F4D-8D3A-E1B644BEBD0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3" name="Freeform: Shape 38">
            <a:extLst>
              <a:ext uri="{FF2B5EF4-FFF2-40B4-BE49-F238E27FC236}">
                <a16:creationId xmlns:a16="http://schemas.microsoft.com/office/drawing/2014/main" id="{5BEACAC3-A4D3-4A5A-BCBD-6A6FB904BDBC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C2A9049B-2A71-4DF7-A59B-F291023D31D2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964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1013A4B-2C3A-4DE4-AACD-0C2F7C1BFAF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5778" y="-19896"/>
            <a:ext cx="12219085" cy="6891750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49724 w 12217364"/>
              <a:gd name="connsiteY0" fmla="*/ 0 h 6891750"/>
              <a:gd name="connsiteX1" fmla="*/ 12206053 w 12217364"/>
              <a:gd name="connsiteY1" fmla="*/ 4343205 h 6891750"/>
              <a:gd name="connsiteX2" fmla="*/ 12217364 w 12217364"/>
              <a:gd name="connsiteY2" fmla="*/ 6891750 h 6891750"/>
              <a:gd name="connsiteX3" fmla="*/ 4074449 w 12217364"/>
              <a:gd name="connsiteY3" fmla="*/ 6877896 h 6891750"/>
              <a:gd name="connsiteX4" fmla="*/ 14054 w 12217364"/>
              <a:gd name="connsiteY4" fmla="*/ 6850187 h 6891750"/>
              <a:gd name="connsiteX5" fmla="*/ 199 w 12217364"/>
              <a:gd name="connsiteY5" fmla="*/ 1516187 h 6891750"/>
              <a:gd name="connsiteX6" fmla="*/ 22741 w 12217364"/>
              <a:gd name="connsiteY6" fmla="*/ 19896 h 6891750"/>
              <a:gd name="connsiteX7" fmla="*/ 5949724 w 12217364"/>
              <a:gd name="connsiteY7" fmla="*/ 0 h 6891750"/>
              <a:gd name="connsiteX0" fmla="*/ 5949936 w 12217576"/>
              <a:gd name="connsiteY0" fmla="*/ 0 h 6891750"/>
              <a:gd name="connsiteX1" fmla="*/ 12206265 w 12217576"/>
              <a:gd name="connsiteY1" fmla="*/ 4343205 h 6891750"/>
              <a:gd name="connsiteX2" fmla="*/ 12217576 w 12217576"/>
              <a:gd name="connsiteY2" fmla="*/ 6891750 h 6891750"/>
              <a:gd name="connsiteX3" fmla="*/ 4074661 w 12217576"/>
              <a:gd name="connsiteY3" fmla="*/ 6877896 h 6891750"/>
              <a:gd name="connsiteX4" fmla="*/ 14266 w 12217576"/>
              <a:gd name="connsiteY4" fmla="*/ 6850187 h 6891750"/>
              <a:gd name="connsiteX5" fmla="*/ 411 w 12217576"/>
              <a:gd name="connsiteY5" fmla="*/ 1516187 h 6891750"/>
              <a:gd name="connsiteX6" fmla="*/ 7455 w 12217576"/>
              <a:gd name="connsiteY6" fmla="*/ 19896 h 6891750"/>
              <a:gd name="connsiteX7" fmla="*/ 5949936 w 12217576"/>
              <a:gd name="connsiteY7" fmla="*/ 0 h 6891750"/>
              <a:gd name="connsiteX0" fmla="*/ 5951445 w 12219085"/>
              <a:gd name="connsiteY0" fmla="*/ 0 h 6891750"/>
              <a:gd name="connsiteX1" fmla="*/ 12207774 w 12219085"/>
              <a:gd name="connsiteY1" fmla="*/ 4343205 h 6891750"/>
              <a:gd name="connsiteX2" fmla="*/ 12219085 w 12219085"/>
              <a:gd name="connsiteY2" fmla="*/ 6891750 h 6891750"/>
              <a:gd name="connsiteX3" fmla="*/ 4076170 w 12219085"/>
              <a:gd name="connsiteY3" fmla="*/ 6877896 h 6891750"/>
              <a:gd name="connsiteX4" fmla="*/ 1261 w 12219085"/>
              <a:gd name="connsiteY4" fmla="*/ 6879216 h 6891750"/>
              <a:gd name="connsiteX5" fmla="*/ 1920 w 12219085"/>
              <a:gd name="connsiteY5" fmla="*/ 1516187 h 6891750"/>
              <a:gd name="connsiteX6" fmla="*/ 8964 w 12219085"/>
              <a:gd name="connsiteY6" fmla="*/ 19896 h 6891750"/>
              <a:gd name="connsiteX7" fmla="*/ 5951445 w 12219085"/>
              <a:gd name="connsiteY7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9085" h="6891750">
                <a:moveTo>
                  <a:pt x="5951445" y="0"/>
                </a:moveTo>
                <a:lnTo>
                  <a:pt x="12207774" y="4343205"/>
                </a:lnTo>
                <a:cubicBezTo>
                  <a:pt x="12211544" y="5192720"/>
                  <a:pt x="12215315" y="6042235"/>
                  <a:pt x="12219085" y="6891750"/>
                </a:cubicBezTo>
                <a:lnTo>
                  <a:pt x="4076170" y="6877896"/>
                </a:lnTo>
                <a:lnTo>
                  <a:pt x="1261" y="6879216"/>
                </a:lnTo>
                <a:cubicBezTo>
                  <a:pt x="-3357" y="5110452"/>
                  <a:pt x="6538" y="3284951"/>
                  <a:pt x="1920" y="1516187"/>
                </a:cubicBezTo>
                <a:cubicBezTo>
                  <a:pt x="-898" y="1001925"/>
                  <a:pt x="11782" y="518660"/>
                  <a:pt x="8964" y="19896"/>
                </a:cubicBezTo>
                <a:lnTo>
                  <a:pt x="595144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FDCD53E-B970-474F-A296-7F5D3D3670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596681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4D0EB71-A2B4-47F8-A43C-B44A52DA54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rgbClr val="798399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96BF9C-3A9B-4F3E-9F61-1D941B653E9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CD4190-9BC7-4476-AF83-E6D1A2BFB31D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84BD3FC-E6DB-474F-B265-92A120F91168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302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>
            <a:extLst>
              <a:ext uri="{FF2B5EF4-FFF2-40B4-BE49-F238E27FC236}">
                <a16:creationId xmlns:a16="http://schemas.microsoft.com/office/drawing/2014/main" id="{5F0F5E84-3D08-463C-A2F4-3F622F79D6AE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635DDF-EA99-074A-B8AA-6DB89B54130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88272" y="1212712"/>
            <a:ext cx="8103729" cy="5645288"/>
          </a:xfrm>
          <a:custGeom>
            <a:avLst/>
            <a:gdLst>
              <a:gd name="connsiteX0" fmla="*/ 8103729 w 8103729"/>
              <a:gd name="connsiteY0" fmla="*/ 0 h 5645288"/>
              <a:gd name="connsiteX1" fmla="*/ 8103729 w 8103729"/>
              <a:gd name="connsiteY1" fmla="*/ 4023746 h 5645288"/>
              <a:gd name="connsiteX2" fmla="*/ 5764894 w 8103729"/>
              <a:gd name="connsiteY2" fmla="*/ 5645288 h 5645288"/>
              <a:gd name="connsiteX3" fmla="*/ 0 w 8103729"/>
              <a:gd name="connsiteY3" fmla="*/ 5645288 h 5645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03729" h="5645288">
                <a:moveTo>
                  <a:pt x="8103729" y="0"/>
                </a:moveTo>
                <a:lnTo>
                  <a:pt x="8103729" y="4023746"/>
                </a:lnTo>
                <a:lnTo>
                  <a:pt x="5764894" y="5645288"/>
                </a:lnTo>
                <a:lnTo>
                  <a:pt x="0" y="564528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8871D4E-8962-41E4-B7BC-D6881361F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AB3759-2ABA-419B-8B4A-9D837809ED6D}"/>
              </a:ext>
            </a:extLst>
          </p:cNvPr>
          <p:cNvCxnSpPr/>
          <p:nvPr userDrawn="1"/>
        </p:nvCxnSpPr>
        <p:spPr>
          <a:xfrm>
            <a:off x="442800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34">
            <a:extLst>
              <a:ext uri="{FF2B5EF4-FFF2-40B4-BE49-F238E27FC236}">
                <a16:creationId xmlns:a16="http://schemas.microsoft.com/office/drawing/2014/main" id="{60D24665-7834-4CC0-8EA5-C724896E98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800" y="3565604"/>
            <a:ext cx="2810216" cy="1168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2A88DD9-1E9D-4979-91FB-355894EC6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D8CA00-0351-4439-80FC-0A747C09242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D7F1981D-B15C-4509-BD6A-04D49D3FAFB5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20">
            <a:extLst>
              <a:ext uri="{FF2B5EF4-FFF2-40B4-BE49-F238E27FC236}">
                <a16:creationId xmlns:a16="http://schemas.microsoft.com/office/drawing/2014/main" id="{3F6CD97A-AEFF-4042-B3F6-70888095713D}"/>
              </a:ext>
            </a:extLst>
          </p:cNvPr>
          <p:cNvSpPr/>
          <p:nvPr userDrawn="1"/>
        </p:nvSpPr>
        <p:spPr>
          <a:xfrm flipH="1">
            <a:off x="8774596" y="4407877"/>
            <a:ext cx="3417404" cy="2450123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119338 w 4913588"/>
              <a:gd name="connsiteY3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119338 w 4913588"/>
              <a:gd name="connsiteY4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2404721 w 4913588"/>
              <a:gd name="connsiteY4" fmla="*/ 2201134 h 2209800"/>
              <a:gd name="connsiteX5" fmla="*/ 119338 w 4913588"/>
              <a:gd name="connsiteY5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2404721 w 4913588"/>
              <a:gd name="connsiteY3" fmla="*/ 398631 h 2209800"/>
              <a:gd name="connsiteX4" fmla="*/ 4913588 w 4913588"/>
              <a:gd name="connsiteY4" fmla="*/ 2209800 h 2209800"/>
              <a:gd name="connsiteX5" fmla="*/ 2404721 w 4913588"/>
              <a:gd name="connsiteY5" fmla="*/ 2201134 h 2209800"/>
              <a:gd name="connsiteX6" fmla="*/ 2404721 w 4913588"/>
              <a:gd name="connsiteY6" fmla="*/ 2201134 h 2209800"/>
              <a:gd name="connsiteX7" fmla="*/ 119338 w 4913588"/>
              <a:gd name="connsiteY7" fmla="*/ 2209800 h 2209800"/>
              <a:gd name="connsiteX0" fmla="*/ 4 w 4794254"/>
              <a:gd name="connsiteY0" fmla="*/ 1811169 h 1811169"/>
              <a:gd name="connsiteX1" fmla="*/ 2268056 w 4794254"/>
              <a:gd name="connsiteY1" fmla="*/ 0 h 1811169"/>
              <a:gd name="connsiteX2" fmla="*/ 2285387 w 4794254"/>
              <a:gd name="connsiteY2" fmla="*/ 0 h 1811169"/>
              <a:gd name="connsiteX3" fmla="*/ 4794254 w 4794254"/>
              <a:gd name="connsiteY3" fmla="*/ 1811169 h 1811169"/>
              <a:gd name="connsiteX4" fmla="*/ 2285387 w 4794254"/>
              <a:gd name="connsiteY4" fmla="*/ 1802503 h 1811169"/>
              <a:gd name="connsiteX5" fmla="*/ 2285387 w 4794254"/>
              <a:gd name="connsiteY5" fmla="*/ 1802503 h 1811169"/>
              <a:gd name="connsiteX6" fmla="*/ 4 w 4794254"/>
              <a:gd name="connsiteY6" fmla="*/ 1811169 h 1811169"/>
              <a:gd name="connsiteX0" fmla="*/ 17331 w 2526198"/>
              <a:gd name="connsiteY0" fmla="*/ 1802503 h 1811169"/>
              <a:gd name="connsiteX1" fmla="*/ 0 w 2526198"/>
              <a:gd name="connsiteY1" fmla="*/ 0 h 1811169"/>
              <a:gd name="connsiteX2" fmla="*/ 17331 w 2526198"/>
              <a:gd name="connsiteY2" fmla="*/ 0 h 1811169"/>
              <a:gd name="connsiteX3" fmla="*/ 2526198 w 2526198"/>
              <a:gd name="connsiteY3" fmla="*/ 1811169 h 1811169"/>
              <a:gd name="connsiteX4" fmla="*/ 17331 w 2526198"/>
              <a:gd name="connsiteY4" fmla="*/ 1802503 h 1811169"/>
              <a:gd name="connsiteX5" fmla="*/ 17331 w 2526198"/>
              <a:gd name="connsiteY5" fmla="*/ 1802503 h 181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6198" h="1811169">
                <a:moveTo>
                  <a:pt x="17331" y="1802503"/>
                </a:moveTo>
                <a:lnTo>
                  <a:pt x="0" y="0"/>
                </a:lnTo>
                <a:lnTo>
                  <a:pt x="17331" y="0"/>
                </a:lnTo>
                <a:lnTo>
                  <a:pt x="2526198" y="1811169"/>
                </a:lnTo>
                <a:lnTo>
                  <a:pt x="17331" y="1802503"/>
                </a:lnTo>
                <a:lnTo>
                  <a:pt x="17331" y="1802503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97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197EE4D-06D9-6D48-B606-48101EB68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4990" y="0"/>
            <a:ext cx="5724910" cy="6858000"/>
          </a:xfrm>
          <a:custGeom>
            <a:avLst/>
            <a:gdLst>
              <a:gd name="connsiteX0" fmla="*/ 3899193 w 5724910"/>
              <a:gd name="connsiteY0" fmla="*/ 0 h 6858000"/>
              <a:gd name="connsiteX1" fmla="*/ 5724910 w 5724910"/>
              <a:gd name="connsiteY1" fmla="*/ 0 h 6858000"/>
              <a:gd name="connsiteX2" fmla="*/ 5724910 w 5724910"/>
              <a:gd name="connsiteY2" fmla="*/ 4117441 h 6858000"/>
              <a:gd name="connsiteX3" fmla="*/ 1757271 w 5724910"/>
              <a:gd name="connsiteY3" fmla="*/ 6858000 h 6858000"/>
              <a:gd name="connsiteX4" fmla="*/ 0 w 5724910"/>
              <a:gd name="connsiteY4" fmla="*/ 6854510 h 6858000"/>
              <a:gd name="connsiteX5" fmla="*/ 10128 w 5724910"/>
              <a:gd name="connsiteY5" fmla="*/ 270433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24910" h="6858000">
                <a:moveTo>
                  <a:pt x="3899193" y="0"/>
                </a:moveTo>
                <a:lnTo>
                  <a:pt x="5724910" y="0"/>
                </a:lnTo>
                <a:lnTo>
                  <a:pt x="5724910" y="4117441"/>
                </a:lnTo>
                <a:lnTo>
                  <a:pt x="1757271" y="6858000"/>
                </a:lnTo>
                <a:lnTo>
                  <a:pt x="0" y="6854510"/>
                </a:lnTo>
                <a:lnTo>
                  <a:pt x="10128" y="270433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90C636B-5A5D-4399-980F-44E3735BC7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2040219"/>
            <a:ext cx="4004632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6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hank you</a:t>
            </a:r>
            <a:endParaRPr lang="en-GB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218638D0-EA79-4658-BBAF-F7CBC3D7A6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2010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8" name="Freeform: Shape 38">
            <a:extLst>
              <a:ext uri="{FF2B5EF4-FFF2-40B4-BE49-F238E27FC236}">
                <a16:creationId xmlns:a16="http://schemas.microsoft.com/office/drawing/2014/main" id="{88DD9336-317D-4740-9853-D4062BAB0838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Freeform: Shape 38">
            <a:extLst>
              <a:ext uri="{FF2B5EF4-FFF2-40B4-BE49-F238E27FC236}">
                <a16:creationId xmlns:a16="http://schemas.microsoft.com/office/drawing/2014/main" id="{98B81505-8EBE-43E4-B7C6-0E608556BE6D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F2F5D52-6D04-4B54-B1A2-680FF23FCC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96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50E1F8B-3FCA-4834-843E-9369F84050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8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18DAEFC-EF40-4589-9F6B-5C1699274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12" name="Freeform: Shape 38">
            <a:extLst>
              <a:ext uri="{FF2B5EF4-FFF2-40B4-BE49-F238E27FC236}">
                <a16:creationId xmlns:a16="http://schemas.microsoft.com/office/drawing/2014/main" id="{BF4677C3-BCF5-4855-9611-E85C96D9A70A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2D55CCF4-0B1D-4A3B-AD75-0E7051248497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757B9-1AC3-4FAB-AFCD-5BE4A4272A5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23 Copyright Genpact. All Rights Reserved.</a:t>
            </a:r>
            <a:endParaRPr lang="en-US" sz="800">
              <a:solidFill>
                <a:schemeClr val="bg2"/>
              </a:solidFill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0746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67C8A7-566E-6245-9CD3-9765B4FA66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800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24EB0EA-8635-6443-A050-B3327AB27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D83DD92-09D1-EE43-BC80-83A0DE3D952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FBCBEE40-2AEA-476A-BD9F-C1BB81200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BB72AD8-123F-41E4-AA6D-10D40E0974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800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6CA4F9AE-634E-4C58-9C8D-2B1FAD50BD7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AB83DAD6-F2E4-42E1-A4EE-C687615A3E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800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90EDD940-259E-4829-8E35-E18B2D80EE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9802C2BE-B1B2-4E86-82FE-3D0646E918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800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8EBD071-CF30-4469-9F10-CB42C7916F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B3C1887B-BFF0-4968-B8C3-0F83E66524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2800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A1582F3-1BA9-4358-BFE5-9640A017A06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D0E6C05-C89A-499C-9021-D2FEEC605C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800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C9F730AD-E09A-4443-8E8F-D5734BB2D7E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28">
            <a:extLst>
              <a:ext uri="{FF2B5EF4-FFF2-40B4-BE49-F238E27FC236}">
                <a16:creationId xmlns:a16="http://schemas.microsoft.com/office/drawing/2014/main" id="{53D3D8CF-E605-4768-9603-689E5785C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05400" y="1"/>
            <a:ext cx="6986601" cy="4853941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6601" h="4853941">
                <a:moveTo>
                  <a:pt x="0" y="0"/>
                </a:moveTo>
                <a:lnTo>
                  <a:pt x="5002307" y="0"/>
                </a:lnTo>
                <a:lnTo>
                  <a:pt x="6986601" y="1372945"/>
                </a:lnTo>
                <a:lnTo>
                  <a:pt x="6986601" y="4853941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0447E7-2370-40EB-9592-91B302D0C28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20A95C-EC8F-41D4-AF1A-5BAA8A39A13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2 Copyright Genpact. All Rights Reserved.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8C5B83D-D9AA-4B70-AD78-85BFC25F5E85}"/>
              </a:ext>
            </a:extLst>
          </p:cNvPr>
          <p:cNvSpPr/>
          <p:nvPr userDrawn="1"/>
        </p:nvSpPr>
        <p:spPr>
          <a:xfrm rot="4191016">
            <a:off x="483992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4700A33-6DF5-4783-B61A-C9245483BD6A}"/>
              </a:ext>
            </a:extLst>
          </p:cNvPr>
          <p:cNvSpPr/>
          <p:nvPr userDrawn="1"/>
        </p:nvSpPr>
        <p:spPr>
          <a:xfrm flipH="1">
            <a:off x="9184940" y="3117122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Freeform: Shape 18">
            <a:extLst>
              <a:ext uri="{FF2B5EF4-FFF2-40B4-BE49-F238E27FC236}">
                <a16:creationId xmlns:a16="http://schemas.microsoft.com/office/drawing/2014/main" id="{3EA723EF-E362-4384-AE04-AB89112E4BC0}"/>
              </a:ext>
            </a:extLst>
          </p:cNvPr>
          <p:cNvSpPr/>
          <p:nvPr userDrawn="1"/>
        </p:nvSpPr>
        <p:spPr>
          <a:xfrm rot="4191016">
            <a:off x="10193741" y="-235643"/>
            <a:ext cx="2181945" cy="1879451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3432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59D8B05-D21B-4C78-89BD-EB314603F8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E244E71-2C6D-4FAE-9016-5F18B979812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3855" y="-11575"/>
            <a:ext cx="12217165" cy="6869575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6265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61744 w 12229384"/>
              <a:gd name="connsiteY0" fmla="*/ 0 h 6891750"/>
              <a:gd name="connsiteX1" fmla="*/ 12218073 w 12229384"/>
              <a:gd name="connsiteY1" fmla="*/ 4343205 h 6891750"/>
              <a:gd name="connsiteX2" fmla="*/ 12229384 w 12229384"/>
              <a:gd name="connsiteY2" fmla="*/ 6891750 h 6891750"/>
              <a:gd name="connsiteX3" fmla="*/ 4086469 w 12229384"/>
              <a:gd name="connsiteY3" fmla="*/ 6862656 h 6891750"/>
              <a:gd name="connsiteX4" fmla="*/ 674 w 12229384"/>
              <a:gd name="connsiteY4" fmla="*/ 6860347 h 6891750"/>
              <a:gd name="connsiteX5" fmla="*/ 12219 w 12229384"/>
              <a:gd name="connsiteY5" fmla="*/ 1516187 h 6891750"/>
              <a:gd name="connsiteX6" fmla="*/ 2173528 w 12229384"/>
              <a:gd name="connsiteY6" fmla="*/ 19896 h 6891750"/>
              <a:gd name="connsiteX7" fmla="*/ 5961744 w 12229384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62656 h 6891750"/>
              <a:gd name="connsiteX4" fmla="*/ 8775 w 12217165"/>
              <a:gd name="connsiteY4" fmla="*/ 689082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8775 w 12217165"/>
              <a:gd name="connsiteY3" fmla="*/ 6890827 h 6891750"/>
              <a:gd name="connsiteX4" fmla="*/ 0 w 12217165"/>
              <a:gd name="connsiteY4" fmla="*/ 1516187 h 6891750"/>
              <a:gd name="connsiteX5" fmla="*/ 2161309 w 12217165"/>
              <a:gd name="connsiteY5" fmla="*/ 19896 h 6891750"/>
              <a:gd name="connsiteX6" fmla="*/ 5949525 w 12217165"/>
              <a:gd name="connsiteY6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7165" h="6891750">
                <a:moveTo>
                  <a:pt x="5949525" y="0"/>
                </a:moveTo>
                <a:lnTo>
                  <a:pt x="12205854" y="4343205"/>
                </a:lnTo>
                <a:cubicBezTo>
                  <a:pt x="12209624" y="5192720"/>
                  <a:pt x="12213395" y="6042235"/>
                  <a:pt x="12217165" y="6891750"/>
                </a:cubicBezTo>
                <a:lnTo>
                  <a:pt x="8775" y="6890827"/>
                </a:lnTo>
                <a:cubicBezTo>
                  <a:pt x="4157" y="5122063"/>
                  <a:pt x="4618" y="3284951"/>
                  <a:pt x="0" y="1516187"/>
                </a:cubicBezTo>
                <a:lnTo>
                  <a:pt x="2161309" y="19896"/>
                </a:lnTo>
                <a:lnTo>
                  <a:pt x="594952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434872"/>
            <a:ext cx="6397626" cy="121859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800" y="2335488"/>
            <a:ext cx="6443999" cy="381000"/>
          </a:xfrm>
          <a:prstGeom prst="rect">
            <a:avLst/>
          </a:prstGeom>
        </p:spPr>
        <p:txBody>
          <a:bodyPr lIns="0" tIns="0" rIns="360000" b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5C7979F-B5FA-491A-9674-811E416D3A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999782"/>
            <a:ext cx="6454310" cy="990000"/>
          </a:xfrm>
        </p:spPr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4976B8-BC22-4FB2-BECC-2F92BC01DC7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800" y="6480000"/>
            <a:ext cx="2396518" cy="123111"/>
          </a:xfrm>
        </p:spPr>
        <p:txBody>
          <a:bodyPr/>
          <a:lstStyle>
            <a:lvl1pPr>
              <a:defRPr>
                <a:solidFill>
                  <a:srgbClr val="798399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AA631FB-D42E-4C3F-8885-696AF4E9B4B2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2B9A1AF-97F2-4951-AD29-661ACC6A1482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BD8DDAA6-AFDC-48A0-BB6B-AC0E7FCC76A9}"/>
              </a:ext>
            </a:extLst>
          </p:cNvPr>
          <p:cNvSpPr/>
          <p:nvPr userDrawn="1"/>
        </p:nvSpPr>
        <p:spPr>
          <a:xfrm rot="17408984" flipH="1">
            <a:off x="-306984" y="-277922"/>
            <a:ext cx="2647720" cy="2280654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939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546BC35-35BA-4F18-BB54-7267E0AF31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52F038EE-63DB-4468-A7FF-D4C488C62278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0C92DC8-8F9B-FD4C-A423-93681EAA05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4357" y="1202822"/>
            <a:ext cx="8127643" cy="5655179"/>
          </a:xfrm>
          <a:custGeom>
            <a:avLst/>
            <a:gdLst>
              <a:gd name="connsiteX0" fmla="*/ 8127643 w 8127643"/>
              <a:gd name="connsiteY0" fmla="*/ 0 h 5655179"/>
              <a:gd name="connsiteX1" fmla="*/ 8127643 w 8127643"/>
              <a:gd name="connsiteY1" fmla="*/ 4020543 h 5655179"/>
              <a:gd name="connsiteX2" fmla="*/ 5775413 w 8127643"/>
              <a:gd name="connsiteY2" fmla="*/ 5655179 h 5655179"/>
              <a:gd name="connsiteX3" fmla="*/ 0 w 8127643"/>
              <a:gd name="connsiteY3" fmla="*/ 5655179 h 5655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7643" h="5655179">
                <a:moveTo>
                  <a:pt x="8127643" y="0"/>
                </a:moveTo>
                <a:lnTo>
                  <a:pt x="8127643" y="4020543"/>
                </a:lnTo>
                <a:lnTo>
                  <a:pt x="5775413" y="5655179"/>
                </a:lnTo>
                <a:lnTo>
                  <a:pt x="0" y="565517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376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lang="en-GB" sz="1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  <a:p>
            <a:pPr marL="0" lvl="0" indent="0" algn="ctr">
              <a:buFont typeface="Arial" panose="020B0604020202020204" pitchFamily="34" charset="0"/>
              <a:buNone/>
            </a:pP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0324D3F-C030-485A-A8C3-01CA627A791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873B3ECE-66FA-8F4A-9BA4-70589FB28F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6A979B9-FB94-CB41-BC9E-B6C559E0F5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197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D50170-9A03-4DF0-ADB1-B9E0F3635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1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C11DD6-F2E7-4DAD-A8D2-25B1960A815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42800" y="6480000"/>
            <a:ext cx="2396518" cy="123111"/>
          </a:xfrm>
        </p:spPr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E106C1-E5A4-4F33-AEF9-E4AE65A838B4}"/>
              </a:ext>
            </a:extLst>
          </p:cNvPr>
          <p:cNvSpPr/>
          <p:nvPr userDrawn="1"/>
        </p:nvSpPr>
        <p:spPr>
          <a:xfrm rot="17391976" flipH="1">
            <a:off x="9340351" y="4575372"/>
            <a:ext cx="3055372" cy="2597595"/>
          </a:xfrm>
          <a:custGeom>
            <a:avLst/>
            <a:gdLst>
              <a:gd name="connsiteX0" fmla="*/ 0 w 4662314"/>
              <a:gd name="connsiteY0" fmla="*/ 3205489 h 3391128"/>
              <a:gd name="connsiteX1" fmla="*/ 513768 w 4662314"/>
              <a:gd name="connsiteY1" fmla="*/ 3391128 h 3391128"/>
              <a:gd name="connsiteX2" fmla="*/ 4662314 w 4662314"/>
              <a:gd name="connsiteY2" fmla="*/ 452233 h 3391128"/>
              <a:gd name="connsiteX3" fmla="*/ 4542036 w 4662314"/>
              <a:gd name="connsiteY3" fmla="*/ 0 h 3391128"/>
              <a:gd name="connsiteX0" fmla="*/ 0 w 4662314"/>
              <a:gd name="connsiteY0" fmla="*/ 3205489 h 3683558"/>
              <a:gd name="connsiteX1" fmla="*/ 1543623 w 4662314"/>
              <a:gd name="connsiteY1" fmla="*/ 3683558 h 3683558"/>
              <a:gd name="connsiteX2" fmla="*/ 4662314 w 4662314"/>
              <a:gd name="connsiteY2" fmla="*/ 452233 h 3683558"/>
              <a:gd name="connsiteX3" fmla="*/ 4542036 w 4662314"/>
              <a:gd name="connsiteY3" fmla="*/ 0 h 3683558"/>
              <a:gd name="connsiteX4" fmla="*/ 0 w 4662314"/>
              <a:gd name="connsiteY4" fmla="*/ 3205489 h 3683558"/>
              <a:gd name="connsiteX0" fmla="*/ 0 w 4662314"/>
              <a:gd name="connsiteY0" fmla="*/ 3205489 h 3744923"/>
              <a:gd name="connsiteX1" fmla="*/ 1586816 w 4662314"/>
              <a:gd name="connsiteY1" fmla="*/ 3744922 h 3744923"/>
              <a:gd name="connsiteX2" fmla="*/ 4662314 w 4662314"/>
              <a:gd name="connsiteY2" fmla="*/ 452233 h 3744923"/>
              <a:gd name="connsiteX3" fmla="*/ 4542036 w 4662314"/>
              <a:gd name="connsiteY3" fmla="*/ 0 h 3744923"/>
              <a:gd name="connsiteX4" fmla="*/ 0 w 4662314"/>
              <a:gd name="connsiteY4" fmla="*/ 3205489 h 3744923"/>
              <a:gd name="connsiteX0" fmla="*/ 0 w 4542036"/>
              <a:gd name="connsiteY0" fmla="*/ 3205489 h 3744922"/>
              <a:gd name="connsiteX1" fmla="*/ 1586816 w 4542036"/>
              <a:gd name="connsiteY1" fmla="*/ 3744922 h 3744922"/>
              <a:gd name="connsiteX2" fmla="*/ 3838762 w 4542036"/>
              <a:gd name="connsiteY2" fmla="*/ 2176681 h 3744922"/>
              <a:gd name="connsiteX3" fmla="*/ 4542036 w 4542036"/>
              <a:gd name="connsiteY3" fmla="*/ 0 h 3744922"/>
              <a:gd name="connsiteX4" fmla="*/ 0 w 4542036"/>
              <a:gd name="connsiteY4" fmla="*/ 3205489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838114 w 4541388"/>
              <a:gd name="connsiteY2" fmla="*/ 2176681 h 3744922"/>
              <a:gd name="connsiteX3" fmla="*/ 4541388 w 4541388"/>
              <a:gd name="connsiteY3" fmla="*/ 0 h 3744922"/>
              <a:gd name="connsiteX4" fmla="*/ 0 w 4541388"/>
              <a:gd name="connsiteY4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0 w 4541388"/>
              <a:gd name="connsiteY5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3906986 w 4541388"/>
              <a:gd name="connsiteY5" fmla="*/ 418650 h 3744922"/>
              <a:gd name="connsiteX6" fmla="*/ 0 w 4541388"/>
              <a:gd name="connsiteY6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4541388 w 4541388"/>
              <a:gd name="connsiteY3" fmla="*/ 0 h 3744922"/>
              <a:gd name="connsiteX4" fmla="*/ 3906986 w 4541388"/>
              <a:gd name="connsiteY4" fmla="*/ 418650 h 3744922"/>
              <a:gd name="connsiteX5" fmla="*/ 0 w 4541388"/>
              <a:gd name="connsiteY5" fmla="*/ 3179576 h 3744922"/>
              <a:gd name="connsiteX0" fmla="*/ 0 w 3906986"/>
              <a:gd name="connsiteY0" fmla="*/ 2760926 h 3326272"/>
              <a:gd name="connsiteX1" fmla="*/ 1586168 w 3906986"/>
              <a:gd name="connsiteY1" fmla="*/ 3326272 h 3326272"/>
              <a:gd name="connsiteX2" fmla="*/ 3117387 w 3906986"/>
              <a:gd name="connsiteY2" fmla="*/ 2233505 h 3326272"/>
              <a:gd name="connsiteX3" fmla="*/ 3906986 w 3906986"/>
              <a:gd name="connsiteY3" fmla="*/ 0 h 3326272"/>
              <a:gd name="connsiteX4" fmla="*/ 0 w 3906986"/>
              <a:gd name="connsiteY4" fmla="*/ 2760926 h 3326272"/>
              <a:gd name="connsiteX0" fmla="*/ 0 w 3944041"/>
              <a:gd name="connsiteY0" fmla="*/ 2791114 h 3356460"/>
              <a:gd name="connsiteX1" fmla="*/ 1586168 w 3944041"/>
              <a:gd name="connsiteY1" fmla="*/ 3356460 h 3356460"/>
              <a:gd name="connsiteX2" fmla="*/ 3117387 w 3944041"/>
              <a:gd name="connsiteY2" fmla="*/ 2263693 h 3356460"/>
              <a:gd name="connsiteX3" fmla="*/ 3944041 w 3944041"/>
              <a:gd name="connsiteY3" fmla="*/ 0 h 3356460"/>
              <a:gd name="connsiteX4" fmla="*/ 0 w 3944041"/>
              <a:gd name="connsiteY4" fmla="*/ 2791114 h 3356460"/>
              <a:gd name="connsiteX0" fmla="*/ 0 w 3944041"/>
              <a:gd name="connsiteY0" fmla="*/ 2791114 h 3353118"/>
              <a:gd name="connsiteX1" fmla="*/ 1576917 w 3944041"/>
              <a:gd name="connsiteY1" fmla="*/ 3353118 h 3353118"/>
              <a:gd name="connsiteX2" fmla="*/ 3117387 w 3944041"/>
              <a:gd name="connsiteY2" fmla="*/ 2263693 h 3353118"/>
              <a:gd name="connsiteX3" fmla="*/ 3944041 w 3944041"/>
              <a:gd name="connsiteY3" fmla="*/ 0 h 3353118"/>
              <a:gd name="connsiteX4" fmla="*/ 0 w 3944041"/>
              <a:gd name="connsiteY4" fmla="*/ 2791114 h 335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4041" h="3353118">
                <a:moveTo>
                  <a:pt x="0" y="2791114"/>
                </a:moveTo>
                <a:lnTo>
                  <a:pt x="1576917" y="3353118"/>
                </a:lnTo>
                <a:lnTo>
                  <a:pt x="3117387" y="2263693"/>
                </a:lnTo>
                <a:lnTo>
                  <a:pt x="3944041" y="0"/>
                </a:lnTo>
                <a:lnTo>
                  <a:pt x="0" y="2791114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3666787-C34F-4060-9C0B-3567CC8D732A}"/>
              </a:ext>
            </a:extLst>
          </p:cNvPr>
          <p:cNvSpPr/>
          <p:nvPr userDrawn="1"/>
        </p:nvSpPr>
        <p:spPr>
          <a:xfrm rot="3299037">
            <a:off x="4967294" y="3351762"/>
            <a:ext cx="1106312" cy="5035605"/>
          </a:xfrm>
          <a:custGeom>
            <a:avLst/>
            <a:gdLst>
              <a:gd name="connsiteX0" fmla="*/ 0 w 1208279"/>
              <a:gd name="connsiteY0" fmla="*/ 444052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0" fmla="*/ 12488 w 1208279"/>
              <a:gd name="connsiteY0" fmla="*/ 290096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4" fmla="*/ 12488 w 1208279"/>
              <a:gd name="connsiteY4" fmla="*/ 290096 h 5841369"/>
              <a:gd name="connsiteX0" fmla="*/ 12488 w 1208279"/>
              <a:gd name="connsiteY0" fmla="*/ 386502 h 5937775"/>
              <a:gd name="connsiteX1" fmla="*/ 1118728 w 1208279"/>
              <a:gd name="connsiteY1" fmla="*/ 0 h 5937775"/>
              <a:gd name="connsiteX2" fmla="*/ 1208279 w 1208279"/>
              <a:gd name="connsiteY2" fmla="*/ 4213202 h 5937775"/>
              <a:gd name="connsiteX3" fmla="*/ 0 w 1208279"/>
              <a:gd name="connsiteY3" fmla="*/ 5937775 h 5937775"/>
              <a:gd name="connsiteX4" fmla="*/ 12488 w 1208279"/>
              <a:gd name="connsiteY4" fmla="*/ 386502 h 5937775"/>
              <a:gd name="connsiteX0" fmla="*/ 12488 w 1118728"/>
              <a:gd name="connsiteY0" fmla="*/ 386502 h 5937775"/>
              <a:gd name="connsiteX1" fmla="*/ 1118728 w 1118728"/>
              <a:gd name="connsiteY1" fmla="*/ 0 h 5937775"/>
              <a:gd name="connsiteX2" fmla="*/ 1098667 w 1118728"/>
              <a:gd name="connsiteY2" fmla="*/ 4377658 h 5937775"/>
              <a:gd name="connsiteX3" fmla="*/ 0 w 1118728"/>
              <a:gd name="connsiteY3" fmla="*/ 5937775 h 5937775"/>
              <a:gd name="connsiteX4" fmla="*/ 12488 w 1118728"/>
              <a:gd name="connsiteY4" fmla="*/ 386502 h 5937775"/>
              <a:gd name="connsiteX0" fmla="*/ 286229 w 1392469"/>
              <a:gd name="connsiteY0" fmla="*/ 386502 h 6395953"/>
              <a:gd name="connsiteX1" fmla="*/ 1392469 w 1392469"/>
              <a:gd name="connsiteY1" fmla="*/ 0 h 6395953"/>
              <a:gd name="connsiteX2" fmla="*/ 1372408 w 1392469"/>
              <a:gd name="connsiteY2" fmla="*/ 4377658 h 6395953"/>
              <a:gd name="connsiteX3" fmla="*/ 0 w 1392469"/>
              <a:gd name="connsiteY3" fmla="*/ 6395953 h 6395953"/>
              <a:gd name="connsiteX4" fmla="*/ 286229 w 1392469"/>
              <a:gd name="connsiteY4" fmla="*/ 386502 h 6395953"/>
              <a:gd name="connsiteX0" fmla="*/ 0 w 1405178"/>
              <a:gd name="connsiteY0" fmla="*/ 425228 h 6395953"/>
              <a:gd name="connsiteX1" fmla="*/ 1405178 w 1405178"/>
              <a:gd name="connsiteY1" fmla="*/ 0 h 6395953"/>
              <a:gd name="connsiteX2" fmla="*/ 1385117 w 1405178"/>
              <a:gd name="connsiteY2" fmla="*/ 4377658 h 6395953"/>
              <a:gd name="connsiteX3" fmla="*/ 12709 w 1405178"/>
              <a:gd name="connsiteY3" fmla="*/ 6395953 h 6395953"/>
              <a:gd name="connsiteX4" fmla="*/ 0 w 1405178"/>
              <a:gd name="connsiteY4" fmla="*/ 425228 h 6395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5178" h="6395953">
                <a:moveTo>
                  <a:pt x="0" y="425228"/>
                </a:moveTo>
                <a:lnTo>
                  <a:pt x="1405178" y="0"/>
                </a:lnTo>
                <a:lnTo>
                  <a:pt x="1385117" y="4377658"/>
                </a:lnTo>
                <a:cubicBezTo>
                  <a:pt x="1018895" y="4897697"/>
                  <a:pt x="378931" y="5875914"/>
                  <a:pt x="12709" y="6395953"/>
                </a:cubicBezTo>
                <a:cubicBezTo>
                  <a:pt x="12709" y="4596847"/>
                  <a:pt x="0" y="2224334"/>
                  <a:pt x="0" y="425228"/>
                </a:cubicBez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796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6C145B5-FAED-4ECD-8026-AC6DFC2F67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0AF48DA9-E99B-4AAD-8AED-1F315BB61CAB}"/>
              </a:ext>
            </a:extLst>
          </p:cNvPr>
          <p:cNvSpPr/>
          <p:nvPr userDrawn="1"/>
        </p:nvSpPr>
        <p:spPr>
          <a:xfrm rot="5400000">
            <a:off x="0" y="1"/>
            <a:ext cx="3815466" cy="3815466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7132858-3690-C942-AE55-74072A035C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"/>
            <a:ext cx="5711211" cy="6857999"/>
          </a:xfrm>
          <a:custGeom>
            <a:avLst/>
            <a:gdLst>
              <a:gd name="connsiteX0" fmla="*/ 3888681 w 5711211"/>
              <a:gd name="connsiteY0" fmla="*/ 0 h 6857999"/>
              <a:gd name="connsiteX1" fmla="*/ 5711211 w 5711211"/>
              <a:gd name="connsiteY1" fmla="*/ 0 h 6857999"/>
              <a:gd name="connsiteX2" fmla="*/ 5711211 w 5711211"/>
              <a:gd name="connsiteY2" fmla="*/ 4103993 h 6857999"/>
              <a:gd name="connsiteX3" fmla="*/ 1739709 w 5711211"/>
              <a:gd name="connsiteY3" fmla="*/ 6857999 h 6857999"/>
              <a:gd name="connsiteX4" fmla="*/ 0 w 5711211"/>
              <a:gd name="connsiteY4" fmla="*/ 6857999 h 6857999"/>
              <a:gd name="connsiteX5" fmla="*/ 0 w 5711211"/>
              <a:gd name="connsiteY5" fmla="*/ 271410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1211" h="6857999">
                <a:moveTo>
                  <a:pt x="3888681" y="0"/>
                </a:moveTo>
                <a:lnTo>
                  <a:pt x="5711211" y="0"/>
                </a:lnTo>
                <a:lnTo>
                  <a:pt x="5711211" y="4103993"/>
                </a:lnTo>
                <a:lnTo>
                  <a:pt x="1739709" y="6857999"/>
                </a:lnTo>
                <a:lnTo>
                  <a:pt x="0" y="6857999"/>
                </a:lnTo>
                <a:lnTo>
                  <a:pt x="0" y="2714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2414" y="2259127"/>
            <a:ext cx="4004633" cy="3810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Subtitle goes here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2D878DF-45CE-48C4-ADBA-897AA41158B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F0A4E75-D008-4A3D-9E2B-EFA56AA2C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3100375"/>
            <a:ext cx="4004632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850966A-A907-44E5-AD4A-B2C25296B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42415" y="4550622"/>
            <a:ext cx="4004632" cy="581046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CF0C42AB-56AB-4CD9-BC29-E642601C21CA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Freeform: Shape 38">
            <a:extLst>
              <a:ext uri="{FF2B5EF4-FFF2-40B4-BE49-F238E27FC236}">
                <a16:creationId xmlns:a16="http://schemas.microsoft.com/office/drawing/2014/main" id="{64FAF79B-779C-47A3-89F1-134187E543EF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96DC3D-7488-477F-B5D0-C4E18D0F845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9325244" y="6480000"/>
            <a:ext cx="2396518" cy="123111"/>
          </a:xfrm>
        </p:spPr>
        <p:txBody>
          <a:bodyPr/>
          <a:lstStyle/>
          <a:p>
            <a:pPr algn="r"/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715216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4772341C-3A62-40E3-A271-7A1F4DBF12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8" name="Right Triangle 27">
            <a:extLst>
              <a:ext uri="{FF2B5EF4-FFF2-40B4-BE49-F238E27FC236}">
                <a16:creationId xmlns:a16="http://schemas.microsoft.com/office/drawing/2014/main" id="{B60DFC2C-07E8-4CAB-9821-5B5C80DE58B7}"/>
              </a:ext>
            </a:extLst>
          </p:cNvPr>
          <p:cNvSpPr/>
          <p:nvPr userDrawn="1"/>
        </p:nvSpPr>
        <p:spPr>
          <a:xfrm rot="10800000">
            <a:off x="9386887" y="0"/>
            <a:ext cx="2805111" cy="2805111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67C8A7-566E-6245-9CD3-9765B4FA66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800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24EB0EA-8635-6443-A050-B3327AB27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D83DD92-09D1-EE43-BC80-83A0DE3D952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FBCBEE40-2AEA-476A-BD9F-C1BB81200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BB72AD8-123F-41E4-AA6D-10D40E0974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800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6CA4F9AE-634E-4C58-9C8D-2B1FAD50BD7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AB83DAD6-F2E4-42E1-A4EE-C687615A3E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800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90EDD940-259E-4829-8E35-E18B2D80EE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9802C2BE-B1B2-4E86-82FE-3D0646E918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800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8EBD071-CF30-4469-9F10-CB42C7916F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B3C1887B-BFF0-4968-B8C3-0F83E66524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2800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A1582F3-1BA9-4358-BFE5-9640A017A06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D0E6C05-C89A-499C-9021-D2FEEC605C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800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C9F730AD-E09A-4443-8E8F-D5734BB2D7E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28">
            <a:extLst>
              <a:ext uri="{FF2B5EF4-FFF2-40B4-BE49-F238E27FC236}">
                <a16:creationId xmlns:a16="http://schemas.microsoft.com/office/drawing/2014/main" id="{53D3D8CF-E605-4768-9603-689E5785C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05400" y="1"/>
            <a:ext cx="6986601" cy="4853941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6601" h="4853941">
                <a:moveTo>
                  <a:pt x="0" y="0"/>
                </a:moveTo>
                <a:lnTo>
                  <a:pt x="5002307" y="0"/>
                </a:lnTo>
                <a:lnTo>
                  <a:pt x="6986601" y="1372945"/>
                </a:lnTo>
                <a:lnTo>
                  <a:pt x="6986601" y="4853941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0447E7-2370-40EB-9592-91B302D0C28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20A95C-EC8F-41D4-AF1A-5BAA8A39A13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8C5B83D-D9AA-4B70-AD78-85BFC25F5E85}"/>
              </a:ext>
            </a:extLst>
          </p:cNvPr>
          <p:cNvSpPr/>
          <p:nvPr userDrawn="1"/>
        </p:nvSpPr>
        <p:spPr>
          <a:xfrm rot="4191016">
            <a:off x="483992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4700A33-6DF5-4783-B61A-C9245483BD6A}"/>
              </a:ext>
            </a:extLst>
          </p:cNvPr>
          <p:cNvSpPr/>
          <p:nvPr userDrawn="1"/>
        </p:nvSpPr>
        <p:spPr>
          <a:xfrm flipH="1">
            <a:off x="9184940" y="3117122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Freeform: Shape 18">
            <a:extLst>
              <a:ext uri="{FF2B5EF4-FFF2-40B4-BE49-F238E27FC236}">
                <a16:creationId xmlns:a16="http://schemas.microsoft.com/office/drawing/2014/main" id="{3EA723EF-E362-4384-AE04-AB89112E4BC0}"/>
              </a:ext>
            </a:extLst>
          </p:cNvPr>
          <p:cNvSpPr/>
          <p:nvPr userDrawn="1"/>
        </p:nvSpPr>
        <p:spPr>
          <a:xfrm rot="4191016">
            <a:off x="10193741" y="-235643"/>
            <a:ext cx="2181945" cy="1879451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6417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82F7940D-EF79-4226-9BE8-F97579C66B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3" name="Freeform 58">
            <a:extLst>
              <a:ext uri="{FF2B5EF4-FFF2-40B4-BE49-F238E27FC236}">
                <a16:creationId xmlns:a16="http://schemas.microsoft.com/office/drawing/2014/main" id="{448B1C5E-0964-4F56-AE2F-8D78251DFB2E}"/>
              </a:ext>
            </a:extLst>
          </p:cNvPr>
          <p:cNvSpPr/>
          <p:nvPr userDrawn="1"/>
        </p:nvSpPr>
        <p:spPr>
          <a:xfrm flipH="1">
            <a:off x="6039992" y="4849927"/>
            <a:ext cx="5107358" cy="2019426"/>
          </a:xfrm>
          <a:custGeom>
            <a:avLst/>
            <a:gdLst>
              <a:gd name="connsiteX0" fmla="*/ 2885571 w 5107358"/>
              <a:gd name="connsiteY0" fmla="*/ 0 h 2019426"/>
              <a:gd name="connsiteX1" fmla="*/ 0 w 5107358"/>
              <a:gd name="connsiteY1" fmla="*/ 2019426 h 2019426"/>
              <a:gd name="connsiteX2" fmla="*/ 2277819 w 5107358"/>
              <a:gd name="connsiteY2" fmla="*/ 2019426 h 2019426"/>
              <a:gd name="connsiteX3" fmla="*/ 5107358 w 5107358"/>
              <a:gd name="connsiteY3" fmla="*/ 67456 h 201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07358" h="2019426">
                <a:moveTo>
                  <a:pt x="2885571" y="0"/>
                </a:moveTo>
                <a:lnTo>
                  <a:pt x="0" y="2019426"/>
                </a:lnTo>
                <a:lnTo>
                  <a:pt x="2277819" y="2019426"/>
                </a:lnTo>
                <a:lnTo>
                  <a:pt x="5107358" y="67456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8368AC7-44BD-41FB-9A75-B45905F2D0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3200" cy="686554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7DA1266-9152-4A32-8502-59116D5DE105}"/>
              </a:ext>
            </a:extLst>
          </p:cNvPr>
          <p:cNvSpPr txBox="1">
            <a:spLocks/>
          </p:cNvSpPr>
          <p:nvPr/>
        </p:nvSpPr>
        <p:spPr>
          <a:xfrm flipH="1">
            <a:off x="457196" y="6436977"/>
            <a:ext cx="542041" cy="1908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A285110E-A93C-E24B-BA01-8EFF0EF70079}" type="slidenum">
              <a:rPr lang="en-US" sz="800" b="1">
                <a:solidFill>
                  <a:schemeClr val="bg2"/>
                </a:solidFill>
                <a:latin typeface="+mn-lt"/>
                <a:ea typeface="Cambria" panose="02040503050406030204" pitchFamily="18" charset="0"/>
              </a:rPr>
              <a:pPr algn="l"/>
              <a:t>‹#›</a:t>
            </a:fld>
            <a:endParaRPr lang="en-US" b="1">
              <a:solidFill>
                <a:schemeClr val="bg2"/>
              </a:solidFill>
              <a:latin typeface="+mn-lt"/>
              <a:ea typeface="Cambria" panose="02040503050406030204" pitchFamily="18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2791443-6809-8D4F-9966-7CEE87C136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4FEA392-9CF1-B94F-BB23-E79DFB2BCC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CC8DEF04-C6F4-3344-B4ED-32374CA7DC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426211"/>
            <a:ext cx="2396518" cy="22225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8883B2D1-073D-4B5D-8039-E523985156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51" name="Picture Placeholder 26">
            <a:extLst>
              <a:ext uri="{FF2B5EF4-FFF2-40B4-BE49-F238E27FC236}">
                <a16:creationId xmlns:a16="http://schemas.microsoft.com/office/drawing/2014/main" id="{5E8F5516-B38A-484B-A47A-802A26955F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10622" y="0"/>
            <a:ext cx="5400119" cy="5460274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119" h="5460274">
                <a:moveTo>
                  <a:pt x="0" y="0"/>
                </a:moveTo>
                <a:lnTo>
                  <a:pt x="5400119" y="0"/>
                </a:lnTo>
                <a:lnTo>
                  <a:pt x="5400119" y="3577239"/>
                </a:lnTo>
                <a:lnTo>
                  <a:pt x="2691728" y="5460274"/>
                </a:lnTo>
                <a:lnTo>
                  <a:pt x="0" y="357091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B2A32391-3567-484A-869F-44FEECB6DB3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7199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8651DA9B-1C09-43C3-914E-FB51BCEDD25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4CB8E277-ACFD-43B0-A39F-BE7615C5525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7199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B2D19412-D286-490A-AF62-E31A0BF7D47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19">
            <a:extLst>
              <a:ext uri="{FF2B5EF4-FFF2-40B4-BE49-F238E27FC236}">
                <a16:creationId xmlns:a16="http://schemas.microsoft.com/office/drawing/2014/main" id="{DF0C502E-776E-4776-8238-1FE1C83A84C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57199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8EF4CACF-C03A-48C7-B822-754560D9C81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22">
            <a:extLst>
              <a:ext uri="{FF2B5EF4-FFF2-40B4-BE49-F238E27FC236}">
                <a16:creationId xmlns:a16="http://schemas.microsoft.com/office/drawing/2014/main" id="{674752F6-7BC7-4D47-8BD4-0F3C188802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7199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AF5D34F2-66E3-41B5-8AED-0BBF0E02971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3">
            <a:extLst>
              <a:ext uri="{FF2B5EF4-FFF2-40B4-BE49-F238E27FC236}">
                <a16:creationId xmlns:a16="http://schemas.microsoft.com/office/drawing/2014/main" id="{5E230149-BE4F-40D6-BD20-6F4E31060B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7199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6B3F4D62-F616-458E-A8DA-D16D04772D2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CC542C48-A55C-4471-A9A2-F86C8F9C76FA}"/>
              </a:ext>
            </a:extLst>
          </p:cNvPr>
          <p:cNvSpPr txBox="1">
            <a:spLocks/>
          </p:cNvSpPr>
          <p:nvPr userDrawn="1"/>
        </p:nvSpPr>
        <p:spPr>
          <a:xfrm flipH="1">
            <a:off x="457196" y="6436977"/>
            <a:ext cx="542041" cy="1908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A285110E-A93C-E24B-BA01-8EFF0EF70079}" type="slidenum">
              <a:rPr lang="en-US" sz="800" b="1">
                <a:solidFill>
                  <a:schemeClr val="bg2"/>
                </a:solidFill>
                <a:latin typeface="+mn-lt"/>
                <a:ea typeface="Cambria" panose="02040503050406030204" pitchFamily="18" charset="0"/>
              </a:rPr>
              <a:pPr algn="l"/>
              <a:t>‹#›</a:t>
            </a:fld>
            <a:endParaRPr lang="en-US" b="1">
              <a:solidFill>
                <a:schemeClr val="bg2"/>
              </a:solidFill>
              <a:latin typeface="+mn-lt"/>
              <a:ea typeface="Cambria" panose="02040503050406030204" pitchFamily="18" charset="0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568908CF-F714-4E88-AF35-787D043DF0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2400" cy="27017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D89F2555-353E-491E-B9B0-CCB5DF8A35F4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 56">
            <a:extLst>
              <a:ext uri="{FF2B5EF4-FFF2-40B4-BE49-F238E27FC236}">
                <a16:creationId xmlns:a16="http://schemas.microsoft.com/office/drawing/2014/main" id="{1EA7358F-3E9C-44B1-AA6B-15D6F32DCB12}"/>
              </a:ext>
            </a:extLst>
          </p:cNvPr>
          <p:cNvSpPr/>
          <p:nvPr userDrawn="1"/>
        </p:nvSpPr>
        <p:spPr>
          <a:xfrm rot="4196304">
            <a:off x="8884361" y="4991240"/>
            <a:ext cx="2563893" cy="2048405"/>
          </a:xfrm>
          <a:custGeom>
            <a:avLst/>
            <a:gdLst>
              <a:gd name="connsiteX0" fmla="*/ 0 w 2264587"/>
              <a:gd name="connsiteY0" fmla="*/ 1545382 h 1809276"/>
              <a:gd name="connsiteX1" fmla="*/ 2264587 w 2264587"/>
              <a:gd name="connsiteY1" fmla="*/ 0 h 1809276"/>
              <a:gd name="connsiteX2" fmla="*/ 2132172 w 2264587"/>
              <a:gd name="connsiteY2" fmla="*/ 291012 h 1809276"/>
              <a:gd name="connsiteX3" fmla="*/ 2093985 w 2264587"/>
              <a:gd name="connsiteY3" fmla="*/ 395084 h 1809276"/>
              <a:gd name="connsiteX4" fmla="*/ 64114 w 2264587"/>
              <a:gd name="connsiteY4" fmla="*/ 1809276 h 1809276"/>
              <a:gd name="connsiteX5" fmla="*/ 53640 w 2264587"/>
              <a:gd name="connsiteY5" fmla="*/ 1768484 h 1809276"/>
              <a:gd name="connsiteX6" fmla="*/ 0 w 2264587"/>
              <a:gd name="connsiteY6" fmla="*/ 1545382 h 1809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4587" h="1809276">
                <a:moveTo>
                  <a:pt x="0" y="1545382"/>
                </a:moveTo>
                <a:lnTo>
                  <a:pt x="2264587" y="0"/>
                </a:lnTo>
                <a:lnTo>
                  <a:pt x="2132172" y="291012"/>
                </a:lnTo>
                <a:lnTo>
                  <a:pt x="2093985" y="395084"/>
                </a:lnTo>
                <a:lnTo>
                  <a:pt x="64114" y="1809276"/>
                </a:lnTo>
                <a:lnTo>
                  <a:pt x="53640" y="1768484"/>
                </a:lnTo>
                <a:cubicBezTo>
                  <a:pt x="30342" y="1675775"/>
                  <a:pt x="31426" y="1665603"/>
                  <a:pt x="0" y="1545382"/>
                </a:cubicBez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776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5530E5C5-C4EE-4F48-993F-0A393A6068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1" name="Freeform 20">
            <a:extLst>
              <a:ext uri="{FF2B5EF4-FFF2-40B4-BE49-F238E27FC236}">
                <a16:creationId xmlns:a16="http://schemas.microsoft.com/office/drawing/2014/main" id="{AD3AE23F-988B-564F-876F-C0158BED6563}"/>
              </a:ext>
            </a:extLst>
          </p:cNvPr>
          <p:cNvSpPr/>
          <p:nvPr/>
        </p:nvSpPr>
        <p:spPr>
          <a:xfrm>
            <a:off x="0" y="-15396"/>
            <a:ext cx="3119527" cy="2170074"/>
          </a:xfrm>
          <a:custGeom>
            <a:avLst/>
            <a:gdLst>
              <a:gd name="connsiteX0" fmla="*/ 0 w 3119527"/>
              <a:gd name="connsiteY0" fmla="*/ 0 h 2170074"/>
              <a:gd name="connsiteX1" fmla="*/ 3119527 w 3119527"/>
              <a:gd name="connsiteY1" fmla="*/ 1224 h 2170074"/>
              <a:gd name="connsiteX2" fmla="*/ 0 w 3119527"/>
              <a:gd name="connsiteY2" fmla="*/ 2170074 h 2170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19527" h="2170074">
                <a:moveTo>
                  <a:pt x="0" y="0"/>
                </a:moveTo>
                <a:lnTo>
                  <a:pt x="3119527" y="1224"/>
                </a:lnTo>
                <a:lnTo>
                  <a:pt x="0" y="2170074"/>
                </a:lnTo>
                <a:close/>
              </a:path>
            </a:pathLst>
          </a:custGeom>
          <a:gradFill>
            <a:gsLst>
              <a:gs pos="0">
                <a:srgbClr val="007199"/>
              </a:gs>
              <a:gs pos="100000">
                <a:srgbClr val="00AECF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64203167-F8D4-5045-BC57-8D5D46A2DF5D}"/>
              </a:ext>
            </a:extLst>
          </p:cNvPr>
          <p:cNvSpPr/>
          <p:nvPr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D1E0693-F664-448A-9D7A-93A03D6B7E90}"/>
              </a:ext>
            </a:extLst>
          </p:cNvPr>
          <p:cNvSpPr/>
          <p:nvPr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5BDCB9F-EF00-4740-A039-6C5374289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48114" y="0"/>
            <a:ext cx="8543886" cy="5941720"/>
          </a:xfrm>
          <a:custGeom>
            <a:avLst/>
            <a:gdLst>
              <a:gd name="connsiteX0" fmla="*/ 0 w 8543886"/>
              <a:gd name="connsiteY0" fmla="*/ 0 h 5941720"/>
              <a:gd name="connsiteX1" fmla="*/ 8543886 w 8543886"/>
              <a:gd name="connsiteY1" fmla="*/ 0 h 5941720"/>
              <a:gd name="connsiteX2" fmla="*/ 8543886 w 8543886"/>
              <a:gd name="connsiteY2" fmla="*/ 5941720 h 594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886" h="5941720">
                <a:moveTo>
                  <a:pt x="0" y="0"/>
                </a:moveTo>
                <a:lnTo>
                  <a:pt x="8543886" y="0"/>
                </a:lnTo>
                <a:lnTo>
                  <a:pt x="8543886" y="594172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972997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B87D776C-79F6-D44E-9FFA-CA482D54AFB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560262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1</a:t>
            </a:r>
            <a:endParaRPr lang="en-GB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667D5848-2C00-434A-95F4-0BB2E59ACF12}"/>
              </a:ext>
            </a:extLst>
          </p:cNvPr>
          <p:cNvSpPr/>
          <p:nvPr userDrawn="1"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97E7568-823C-4CBD-8378-DB4576EA10FD}"/>
              </a:ext>
            </a:extLst>
          </p:cNvPr>
          <p:cNvSpPr/>
          <p:nvPr userDrawn="1"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F7F916-A56A-41E0-AB16-47964E93C7B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  <a:endParaRPr lang="en-GB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A96C76-0097-4274-9DA2-D1F8E7937F33}"/>
              </a:ext>
            </a:extLst>
          </p:cNvPr>
          <p:cNvSpPr/>
          <p:nvPr userDrawn="1"/>
        </p:nvSpPr>
        <p:spPr>
          <a:xfrm rot="4191016">
            <a:off x="3401016" y="-500975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D4A7702-172F-4F6B-8FA4-0097A75DF785}"/>
              </a:ext>
            </a:extLst>
          </p:cNvPr>
          <p:cNvSpPr/>
          <p:nvPr userDrawn="1"/>
        </p:nvSpPr>
        <p:spPr>
          <a:xfrm flipH="1">
            <a:off x="9184940" y="3705794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0797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BD80A45-67E2-49BA-9E9D-E5B6DFBDBD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7363E61-7CF1-A94D-B206-5B49A9CC1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8966" y="141209"/>
            <a:ext cx="9663034" cy="6716791"/>
          </a:xfrm>
          <a:custGeom>
            <a:avLst/>
            <a:gdLst>
              <a:gd name="connsiteX0" fmla="*/ 9663034 w 9663034"/>
              <a:gd name="connsiteY0" fmla="*/ 0 h 6716791"/>
              <a:gd name="connsiteX1" fmla="*/ 9663034 w 9663034"/>
              <a:gd name="connsiteY1" fmla="*/ 4814575 h 6716791"/>
              <a:gd name="connsiteX2" fmla="*/ 6941731 w 9663034"/>
              <a:gd name="connsiteY2" fmla="*/ 6716791 h 6716791"/>
              <a:gd name="connsiteX3" fmla="*/ 0 w 9663034"/>
              <a:gd name="connsiteY3" fmla="*/ 6716791 h 6716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63034" h="6716791">
                <a:moveTo>
                  <a:pt x="9663034" y="0"/>
                </a:moveTo>
                <a:lnTo>
                  <a:pt x="9663034" y="4814575"/>
                </a:lnTo>
                <a:lnTo>
                  <a:pt x="6941731" y="6716791"/>
                </a:lnTo>
                <a:lnTo>
                  <a:pt x="0" y="67167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2645439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6A93C236-DDC8-AB42-B158-C3A75D57257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EB28338C-0118-4339-8B11-1628D97D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1246559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842DA984-1D2F-2140-8491-B516D776CAC4}"/>
              </a:ext>
            </a:extLst>
          </p:cNvPr>
          <p:cNvSpPr/>
          <p:nvPr userDrawn="1"/>
        </p:nvSpPr>
        <p:spPr>
          <a:xfrm>
            <a:off x="0" y="4910678"/>
            <a:ext cx="4279900" cy="1947322"/>
          </a:xfrm>
          <a:custGeom>
            <a:avLst/>
            <a:gdLst>
              <a:gd name="connsiteX0" fmla="*/ 1467015 w 4279900"/>
              <a:gd name="connsiteY0" fmla="*/ 0 h 1947322"/>
              <a:gd name="connsiteX1" fmla="*/ 4279900 w 4279900"/>
              <a:gd name="connsiteY1" fmla="*/ 1947322 h 1947322"/>
              <a:gd name="connsiteX2" fmla="*/ 0 w 4279900"/>
              <a:gd name="connsiteY2" fmla="*/ 1947322 h 1947322"/>
              <a:gd name="connsiteX3" fmla="*/ 0 w 4279900"/>
              <a:gd name="connsiteY3" fmla="*/ 1020577 h 194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79900" h="1947322">
                <a:moveTo>
                  <a:pt x="1467015" y="0"/>
                </a:moveTo>
                <a:lnTo>
                  <a:pt x="4279900" y="1947322"/>
                </a:lnTo>
                <a:lnTo>
                  <a:pt x="0" y="1947322"/>
                </a:lnTo>
                <a:lnTo>
                  <a:pt x="0" y="102057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321975A5-5726-314A-B546-DA0044580E14}"/>
              </a:ext>
            </a:extLst>
          </p:cNvPr>
          <p:cNvSpPr/>
          <p:nvPr userDrawn="1"/>
        </p:nvSpPr>
        <p:spPr>
          <a:xfrm>
            <a:off x="1745857" y="5440650"/>
            <a:ext cx="2442751" cy="1417350"/>
          </a:xfrm>
          <a:custGeom>
            <a:avLst/>
            <a:gdLst>
              <a:gd name="connsiteX0" fmla="*/ 2031703 w 2442751"/>
              <a:gd name="connsiteY0" fmla="*/ 0 h 1417350"/>
              <a:gd name="connsiteX1" fmla="*/ 2442751 w 2442751"/>
              <a:gd name="connsiteY1" fmla="*/ 267995 h 1417350"/>
              <a:gd name="connsiteX2" fmla="*/ 783199 w 2442751"/>
              <a:gd name="connsiteY2" fmla="*/ 1417350 h 1417350"/>
              <a:gd name="connsiteX3" fmla="*/ 0 w 2442751"/>
              <a:gd name="connsiteY3" fmla="*/ 1417350 h 141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751" h="1417350">
                <a:moveTo>
                  <a:pt x="2031703" y="0"/>
                </a:moveTo>
                <a:lnTo>
                  <a:pt x="2442751" y="267995"/>
                </a:lnTo>
                <a:lnTo>
                  <a:pt x="783199" y="1417350"/>
                </a:lnTo>
                <a:lnTo>
                  <a:pt x="0" y="141735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8D284C-7154-401F-9518-EB35035E34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© 2023 Copyright Genpact. All Rights Reserved.</a:t>
            </a:r>
            <a:endParaRPr lang="en-GB"/>
          </a:p>
        </p:txBody>
      </p:sp>
      <p:sp>
        <p:nvSpPr>
          <p:cNvPr id="30" name="Freeform 28">
            <a:extLst>
              <a:ext uri="{FF2B5EF4-FFF2-40B4-BE49-F238E27FC236}">
                <a16:creationId xmlns:a16="http://schemas.microsoft.com/office/drawing/2014/main" id="{447BDDC6-505D-4732-B677-284CBEC734D1}"/>
              </a:ext>
            </a:extLst>
          </p:cNvPr>
          <p:cNvSpPr/>
          <p:nvPr userDrawn="1"/>
        </p:nvSpPr>
        <p:spPr>
          <a:xfrm rot="10800000">
            <a:off x="9763185" y="-1"/>
            <a:ext cx="2428815" cy="1426848"/>
          </a:xfrm>
          <a:custGeom>
            <a:avLst/>
            <a:gdLst>
              <a:gd name="connsiteX0" fmla="*/ 991465 w 2428815"/>
              <a:gd name="connsiteY0" fmla="*/ 1426848 h 1426848"/>
              <a:gd name="connsiteX1" fmla="*/ 0 w 2428815"/>
              <a:gd name="connsiteY1" fmla="*/ 1426848 h 1426848"/>
              <a:gd name="connsiteX2" fmla="*/ 0 w 2428815"/>
              <a:gd name="connsiteY2" fmla="*/ 1283606 h 1426848"/>
              <a:gd name="connsiteX3" fmla="*/ 1845489 w 2428815"/>
              <a:gd name="connsiteY3" fmla="*/ 0 h 1426848"/>
              <a:gd name="connsiteX4" fmla="*/ 2428815 w 2428815"/>
              <a:gd name="connsiteY4" fmla="*/ 399380 h 1426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8815" h="1426848">
                <a:moveTo>
                  <a:pt x="991465" y="1426848"/>
                </a:moveTo>
                <a:lnTo>
                  <a:pt x="0" y="1426848"/>
                </a:lnTo>
                <a:lnTo>
                  <a:pt x="0" y="1283606"/>
                </a:lnTo>
                <a:lnTo>
                  <a:pt x="1845489" y="0"/>
                </a:lnTo>
                <a:lnTo>
                  <a:pt x="2428815" y="39938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9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A5D467-3077-47DD-939A-561425A39FE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2"/>
                </a:solidFill>
              </a:rPr>
              <a:pPr lvl="0"/>
              <a:t>‹#›</a:t>
            </a:fld>
            <a:endParaRPr lang="en-US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551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692B022-D178-44D0-B9B8-E05E2EC2B4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3627052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519455F8-E443-2E47-84AE-B5E3AB72DCED}"/>
              </a:ext>
            </a:extLst>
          </p:cNvPr>
          <p:cNvSpPr/>
          <p:nvPr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7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1CDB2D-7FA5-4BA7-AEA0-FE2551E49C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260570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6F10E259-8957-4A25-A1FE-6233728BBD6A}"/>
              </a:ext>
            </a:extLst>
          </p:cNvPr>
          <p:cNvSpPr/>
          <p:nvPr userDrawn="1"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E0280A-C911-477A-9CA7-94686E8EAF5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9E407E-3FDA-43A1-8AFD-D4C5DBD5A7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  <a:endParaRPr lang="en-GB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5C50561-D087-47A2-8E0E-B095F51A359E}"/>
              </a:ext>
            </a:extLst>
          </p:cNvPr>
          <p:cNvSpPr/>
          <p:nvPr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27166BE-C525-4B89-9317-E7513C3FD974}"/>
              </a:ext>
            </a:extLst>
          </p:cNvPr>
          <p:cNvSpPr/>
          <p:nvPr userDrawn="1"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1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5857FA2-03C8-4CE8-ABB9-5858207705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198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C34AE55B-54F4-4171-BB75-625116036B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Freeform 23">
            <a:extLst>
              <a:ext uri="{FF2B5EF4-FFF2-40B4-BE49-F238E27FC236}">
                <a16:creationId xmlns:a16="http://schemas.microsoft.com/office/drawing/2014/main" id="{D80F8535-1B37-C640-9522-9FFE23DA8F4E}"/>
              </a:ext>
            </a:extLst>
          </p:cNvPr>
          <p:cNvSpPr/>
          <p:nvPr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E0BA6F1B-DB4E-4726-82C8-F69E131B99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4257" y="2540943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95833C23-279C-584E-A024-2A31807A9274}"/>
              </a:ext>
            </a:extLst>
          </p:cNvPr>
          <p:cNvSpPr/>
          <p:nvPr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6F00C93-F8EE-4584-A029-7488D3966167}"/>
              </a:ext>
            </a:extLst>
          </p:cNvPr>
          <p:cNvSpPr/>
          <p:nvPr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CECEFDB-7B1D-4D53-AFB2-2A3E81E50E9C}"/>
              </a:ext>
            </a:extLst>
          </p:cNvPr>
          <p:cNvSpPr/>
          <p:nvPr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997A980-7EC0-453E-ABF1-4DC83EB7C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1239876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4</a:t>
            </a:r>
            <a:endParaRPr lang="en-GB"/>
          </a:p>
        </p:txBody>
      </p:sp>
      <p:sp>
        <p:nvSpPr>
          <p:cNvPr id="20" name="Freeform 23">
            <a:extLst>
              <a:ext uri="{FF2B5EF4-FFF2-40B4-BE49-F238E27FC236}">
                <a16:creationId xmlns:a16="http://schemas.microsoft.com/office/drawing/2014/main" id="{4AACB9C7-803C-4152-82CB-67927F253134}"/>
              </a:ext>
            </a:extLst>
          </p:cNvPr>
          <p:cNvSpPr/>
          <p:nvPr userDrawn="1"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38F6177-211A-49BE-ABB9-97949A54E26E}"/>
              </a:ext>
            </a:extLst>
          </p:cNvPr>
          <p:cNvSpPr/>
          <p:nvPr userDrawn="1"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D7EF89F-2526-415C-BBDF-59E49A45CE8B}"/>
              </a:ext>
            </a:extLst>
          </p:cNvPr>
          <p:cNvSpPr/>
          <p:nvPr userDrawn="1"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480B66D4-A5F5-624A-B6B3-939B1AD7D213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>
                  <a:alpha val="0"/>
                </a:schemeClr>
              </a:gs>
              <a:gs pos="92000">
                <a:schemeClr val="accent1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 21">
            <a:extLst>
              <a:ext uri="{FF2B5EF4-FFF2-40B4-BE49-F238E27FC236}">
                <a16:creationId xmlns:a16="http://schemas.microsoft.com/office/drawing/2014/main" id="{2168F68C-9AED-427E-85F9-E8C1393F181B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Freeform 16">
            <a:extLst>
              <a:ext uri="{FF2B5EF4-FFF2-40B4-BE49-F238E27FC236}">
                <a16:creationId xmlns:a16="http://schemas.microsoft.com/office/drawing/2014/main" id="{B65377BA-7EEE-4F72-8CAE-57BDF7345B46}"/>
              </a:ext>
            </a:extLst>
          </p:cNvPr>
          <p:cNvSpPr/>
          <p:nvPr userDrawn="1"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A764AC80-FAC7-4BD1-B73A-91406AC014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A45E612-A8E3-4C77-9438-EC1BFADA331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© 2023 Copyright Genpact. All Rights Reserved.</a:t>
            </a:r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079725B-1CBE-4221-997B-07640A54E0D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2"/>
                </a:solidFill>
              </a:rPr>
              <a:pPr lvl="0"/>
              <a:t>‹#›</a:t>
            </a:fld>
            <a:endParaRPr lang="en-US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2771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A6CD9C7-E2A9-434A-9A8E-298812C6A1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5" name="Freeform 24">
            <a:extLst>
              <a:ext uri="{FF2B5EF4-FFF2-40B4-BE49-F238E27FC236}">
                <a16:creationId xmlns:a16="http://schemas.microsoft.com/office/drawing/2014/main" id="{5B049D90-7C0C-2543-A4A6-22DE2C411CA6}"/>
              </a:ext>
            </a:extLst>
          </p:cNvPr>
          <p:cNvSpPr/>
          <p:nvPr/>
        </p:nvSpPr>
        <p:spPr>
          <a:xfrm>
            <a:off x="0" y="4900507"/>
            <a:ext cx="4262572" cy="1957493"/>
          </a:xfrm>
          <a:custGeom>
            <a:avLst/>
            <a:gdLst>
              <a:gd name="connsiteX0" fmla="*/ 1462275 w 4262572"/>
              <a:gd name="connsiteY0" fmla="*/ 0 h 1957493"/>
              <a:gd name="connsiteX1" fmla="*/ 4262572 w 4262572"/>
              <a:gd name="connsiteY1" fmla="*/ 1957493 h 1957493"/>
              <a:gd name="connsiteX2" fmla="*/ 0 w 4262572"/>
              <a:gd name="connsiteY2" fmla="*/ 1957493 h 1957493"/>
              <a:gd name="connsiteX3" fmla="*/ 0 w 4262572"/>
              <a:gd name="connsiteY3" fmla="*/ 1021999 h 195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62572" h="1957493">
                <a:moveTo>
                  <a:pt x="1462275" y="0"/>
                </a:moveTo>
                <a:lnTo>
                  <a:pt x="4262572" y="1957493"/>
                </a:lnTo>
                <a:lnTo>
                  <a:pt x="0" y="1957493"/>
                </a:lnTo>
                <a:lnTo>
                  <a:pt x="0" y="1021999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29773AE-3026-4994-9E24-119377549C30}"/>
              </a:ext>
            </a:extLst>
          </p:cNvPr>
          <p:cNvSpPr/>
          <p:nvPr/>
        </p:nvSpPr>
        <p:spPr>
          <a:xfrm>
            <a:off x="1739901" y="5448182"/>
            <a:ext cx="4065894" cy="1412994"/>
          </a:xfrm>
          <a:custGeom>
            <a:avLst/>
            <a:gdLst>
              <a:gd name="connsiteX0" fmla="*/ 0 w 4467225"/>
              <a:gd name="connsiteY0" fmla="*/ 1533525 h 1562100"/>
              <a:gd name="connsiteX1" fmla="*/ 2228850 w 4467225"/>
              <a:gd name="connsiteY1" fmla="*/ 0 h 1562100"/>
              <a:gd name="connsiteX2" fmla="*/ 4467225 w 4467225"/>
              <a:gd name="connsiteY2" fmla="*/ 1562100 h 1562100"/>
              <a:gd name="connsiteX3" fmla="*/ 0 w 4467225"/>
              <a:gd name="connsiteY3" fmla="*/ 1533525 h 1562100"/>
              <a:gd name="connsiteX0" fmla="*/ 0 w 4505325"/>
              <a:gd name="connsiteY0" fmla="*/ 1552575 h 1562100"/>
              <a:gd name="connsiteX1" fmla="*/ 2266950 w 4505325"/>
              <a:gd name="connsiteY1" fmla="*/ 0 h 1562100"/>
              <a:gd name="connsiteX2" fmla="*/ 4505325 w 4505325"/>
              <a:gd name="connsiteY2" fmla="*/ 1562100 h 1562100"/>
              <a:gd name="connsiteX3" fmla="*/ 0 w 4505325"/>
              <a:gd name="connsiteY3" fmla="*/ 1552575 h 1562100"/>
              <a:gd name="connsiteX0" fmla="*/ 0 w 4514850"/>
              <a:gd name="connsiteY0" fmla="*/ 1562100 h 1562100"/>
              <a:gd name="connsiteX1" fmla="*/ 2276475 w 4514850"/>
              <a:gd name="connsiteY1" fmla="*/ 0 h 1562100"/>
              <a:gd name="connsiteX2" fmla="*/ 4514850 w 4514850"/>
              <a:gd name="connsiteY2" fmla="*/ 1562100 h 1562100"/>
              <a:gd name="connsiteX3" fmla="*/ 0 w 4514850"/>
              <a:gd name="connsiteY3" fmla="*/ 1562100 h 1562100"/>
              <a:gd name="connsiteX0" fmla="*/ 0 w 4514850"/>
              <a:gd name="connsiteY0" fmla="*/ 1410144 h 1410144"/>
              <a:gd name="connsiteX1" fmla="*/ 2265873 w 4514850"/>
              <a:gd name="connsiteY1" fmla="*/ 0 h 1410144"/>
              <a:gd name="connsiteX2" fmla="*/ 4514850 w 4514850"/>
              <a:gd name="connsiteY2" fmla="*/ 1410144 h 1410144"/>
              <a:gd name="connsiteX3" fmla="*/ 0 w 4514850"/>
              <a:gd name="connsiteY3" fmla="*/ 1410144 h 1410144"/>
              <a:gd name="connsiteX0" fmla="*/ 0 w 4514850"/>
              <a:gd name="connsiteY0" fmla="*/ 1569168 h 1569168"/>
              <a:gd name="connsiteX1" fmla="*/ 2265873 w 4514850"/>
              <a:gd name="connsiteY1" fmla="*/ 0 h 1569168"/>
              <a:gd name="connsiteX2" fmla="*/ 4514850 w 4514850"/>
              <a:gd name="connsiteY2" fmla="*/ 1569168 h 1569168"/>
              <a:gd name="connsiteX3" fmla="*/ 0 w 4514850"/>
              <a:gd name="connsiteY3" fmla="*/ 1569168 h 1569168"/>
              <a:gd name="connsiteX0" fmla="*/ 0 w 4525452"/>
              <a:gd name="connsiteY0" fmla="*/ 1569168 h 1572702"/>
              <a:gd name="connsiteX1" fmla="*/ 2265873 w 4525452"/>
              <a:gd name="connsiteY1" fmla="*/ 0 h 1572702"/>
              <a:gd name="connsiteX2" fmla="*/ 4525452 w 4525452"/>
              <a:gd name="connsiteY2" fmla="*/ 1572702 h 1572702"/>
              <a:gd name="connsiteX3" fmla="*/ 0 w 4525452"/>
              <a:gd name="connsiteY3" fmla="*/ 1569168 h 1572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5452" h="1572702">
                <a:moveTo>
                  <a:pt x="0" y="1569168"/>
                </a:moveTo>
                <a:lnTo>
                  <a:pt x="2265873" y="0"/>
                </a:lnTo>
                <a:lnTo>
                  <a:pt x="4525452" y="1572702"/>
                </a:lnTo>
                <a:lnTo>
                  <a:pt x="0" y="1569168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998EB54-0F58-441A-8144-116153536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257" y="3702319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BE0095B5-53D4-9C4C-8876-BE836797DEE0}"/>
              </a:ext>
            </a:extLst>
          </p:cNvPr>
          <p:cNvSpPr/>
          <p:nvPr/>
        </p:nvSpPr>
        <p:spPr>
          <a:xfrm rot="10800000">
            <a:off x="9083364" y="0"/>
            <a:ext cx="3108635" cy="1425182"/>
          </a:xfrm>
          <a:custGeom>
            <a:avLst/>
            <a:gdLst>
              <a:gd name="connsiteX0" fmla="*/ 3108635 w 3108635"/>
              <a:gd name="connsiteY0" fmla="*/ 1425182 h 1425182"/>
              <a:gd name="connsiteX1" fmla="*/ 0 w 3108635"/>
              <a:gd name="connsiteY1" fmla="*/ 1425182 h 1425182"/>
              <a:gd name="connsiteX2" fmla="*/ 0 w 3108635"/>
              <a:gd name="connsiteY2" fmla="*/ 730957 h 1425182"/>
              <a:gd name="connsiteX3" fmla="*/ 1084862 w 3108635"/>
              <a:gd name="connsiteY3" fmla="*/ 0 h 142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8635" h="1425182">
                <a:moveTo>
                  <a:pt x="3108635" y="1425182"/>
                </a:moveTo>
                <a:lnTo>
                  <a:pt x="0" y="1425182"/>
                </a:lnTo>
                <a:lnTo>
                  <a:pt x="0" y="730957"/>
                </a:lnTo>
                <a:lnTo>
                  <a:pt x="1084862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5DEA3EB-7023-3642-83F2-FD716952AC57}"/>
              </a:ext>
            </a:extLst>
          </p:cNvPr>
          <p:cNvSpPr/>
          <p:nvPr/>
        </p:nvSpPr>
        <p:spPr>
          <a:xfrm rot="10800000">
            <a:off x="7899082" y="-1"/>
            <a:ext cx="2943008" cy="1021432"/>
          </a:xfrm>
          <a:custGeom>
            <a:avLst/>
            <a:gdLst>
              <a:gd name="connsiteX0" fmla="*/ 2943008 w 2943008"/>
              <a:gd name="connsiteY0" fmla="*/ 1021432 h 1021432"/>
              <a:gd name="connsiteX1" fmla="*/ 0 w 2943008"/>
              <a:gd name="connsiteY1" fmla="*/ 1021432 h 1021432"/>
              <a:gd name="connsiteX2" fmla="*/ 1473230 w 2943008"/>
              <a:gd name="connsiteY2" fmla="*/ 0 h 102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43008" h="1021432">
                <a:moveTo>
                  <a:pt x="2943008" y="1021432"/>
                </a:moveTo>
                <a:lnTo>
                  <a:pt x="0" y="1021432"/>
                </a:lnTo>
                <a:lnTo>
                  <a:pt x="1473230" y="0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26A78AB9-EAF7-7746-895A-843233C622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612FCD5A-D75B-4B19-A0CD-3722DB639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5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58EE7C1-72A7-49D2-9408-6D8A3E8979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© 2023 Copyright Genpact. All Rights Reserved.</a:t>
            </a:r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8E6F93-A670-4F14-B015-78190A57D00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2"/>
                </a:solidFill>
              </a:rPr>
              <a:pPr lvl="0"/>
              <a:t>‹#›</a:t>
            </a:fld>
            <a:endParaRPr lang="en-US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76386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20">
            <a:extLst>
              <a:ext uri="{FF2B5EF4-FFF2-40B4-BE49-F238E27FC236}">
                <a16:creationId xmlns:a16="http://schemas.microsoft.com/office/drawing/2014/main" id="{AD3AE23F-988B-564F-876F-C0158BED6563}"/>
              </a:ext>
            </a:extLst>
          </p:cNvPr>
          <p:cNvSpPr/>
          <p:nvPr/>
        </p:nvSpPr>
        <p:spPr>
          <a:xfrm>
            <a:off x="0" y="-3821"/>
            <a:ext cx="3119527" cy="2170074"/>
          </a:xfrm>
          <a:custGeom>
            <a:avLst/>
            <a:gdLst>
              <a:gd name="connsiteX0" fmla="*/ 0 w 3119527"/>
              <a:gd name="connsiteY0" fmla="*/ 0 h 2170074"/>
              <a:gd name="connsiteX1" fmla="*/ 3119527 w 3119527"/>
              <a:gd name="connsiteY1" fmla="*/ 1224 h 2170074"/>
              <a:gd name="connsiteX2" fmla="*/ 0 w 3119527"/>
              <a:gd name="connsiteY2" fmla="*/ 2170074 h 2170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19527" h="2170074">
                <a:moveTo>
                  <a:pt x="0" y="0"/>
                </a:moveTo>
                <a:lnTo>
                  <a:pt x="3119527" y="1224"/>
                </a:lnTo>
                <a:lnTo>
                  <a:pt x="0" y="2170074"/>
                </a:lnTo>
                <a:close/>
              </a:path>
            </a:pathLst>
          </a:custGeom>
          <a:gradFill>
            <a:gsLst>
              <a:gs pos="0">
                <a:srgbClr val="007199"/>
              </a:gs>
              <a:gs pos="100000">
                <a:srgbClr val="00AECF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64203167-F8D4-5045-BC57-8D5D46A2DF5D}"/>
              </a:ext>
            </a:extLst>
          </p:cNvPr>
          <p:cNvSpPr/>
          <p:nvPr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D1E0693-F664-448A-9D7A-93A03D6B7E90}"/>
              </a:ext>
            </a:extLst>
          </p:cNvPr>
          <p:cNvSpPr/>
          <p:nvPr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5BDCB9F-EF00-4740-A039-6C5374289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48114" y="0"/>
            <a:ext cx="8543886" cy="5941720"/>
          </a:xfrm>
          <a:custGeom>
            <a:avLst/>
            <a:gdLst>
              <a:gd name="connsiteX0" fmla="*/ 0 w 8543886"/>
              <a:gd name="connsiteY0" fmla="*/ 0 h 5941720"/>
              <a:gd name="connsiteX1" fmla="*/ 8543886 w 8543886"/>
              <a:gd name="connsiteY1" fmla="*/ 0 h 5941720"/>
              <a:gd name="connsiteX2" fmla="*/ 8543886 w 8543886"/>
              <a:gd name="connsiteY2" fmla="*/ 5941720 h 594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886" h="5941720">
                <a:moveTo>
                  <a:pt x="0" y="0"/>
                </a:moveTo>
                <a:lnTo>
                  <a:pt x="8543886" y="0"/>
                </a:lnTo>
                <a:lnTo>
                  <a:pt x="8543886" y="594172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972997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B87D776C-79F6-D44E-9FFA-CA482D54AF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560262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/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1</a:t>
            </a:r>
            <a:endParaRPr lang="en-GB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667D5848-2C00-434A-95F4-0BB2E59ACF12}"/>
              </a:ext>
            </a:extLst>
          </p:cNvPr>
          <p:cNvSpPr/>
          <p:nvPr userDrawn="1"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97E7568-823C-4CBD-8378-DB4576EA10FD}"/>
              </a:ext>
            </a:extLst>
          </p:cNvPr>
          <p:cNvSpPr/>
          <p:nvPr userDrawn="1"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F7F916-A56A-41E0-AB16-47964E93C7B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2 Copyright Genpact. All Rights Reserved.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A96C76-0097-4274-9DA2-D1F8E7937F33}"/>
              </a:ext>
            </a:extLst>
          </p:cNvPr>
          <p:cNvSpPr/>
          <p:nvPr userDrawn="1"/>
        </p:nvSpPr>
        <p:spPr>
          <a:xfrm rot="4191016">
            <a:off x="3401016" y="-500975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D4A7702-172F-4F6B-8FA4-0097A75DF785}"/>
              </a:ext>
            </a:extLst>
          </p:cNvPr>
          <p:cNvSpPr/>
          <p:nvPr userDrawn="1"/>
        </p:nvSpPr>
        <p:spPr>
          <a:xfrm flipH="1">
            <a:off x="9184940" y="3705794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989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6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90A8770-33B0-4F90-A388-5B3728ACB9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0CC2C6EF-776C-43CF-B77C-3AD42BC255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4143" y="3702319"/>
            <a:ext cx="6843600" cy="381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Description goes he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noProof="0"/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507FF555-C362-BC4D-A8EA-21A034747FD9}"/>
              </a:ext>
            </a:extLst>
          </p:cNvPr>
          <p:cNvSpPr/>
          <p:nvPr/>
        </p:nvSpPr>
        <p:spPr>
          <a:xfrm rot="18300963" flipH="1">
            <a:off x="8503132" y="-1165064"/>
            <a:ext cx="495116" cy="4554815"/>
          </a:xfrm>
          <a:custGeom>
            <a:avLst/>
            <a:gdLst>
              <a:gd name="connsiteX0" fmla="*/ 484981 w 495116"/>
              <a:gd name="connsiteY0" fmla="*/ 0 h 4554815"/>
              <a:gd name="connsiteX1" fmla="*/ 43362 w 495116"/>
              <a:gd name="connsiteY1" fmla="*/ 630320 h 4554815"/>
              <a:gd name="connsiteX2" fmla="*/ 0 w 495116"/>
              <a:gd name="connsiteY2" fmla="*/ 4554815 h 4554815"/>
              <a:gd name="connsiteX3" fmla="*/ 484123 w 495116"/>
              <a:gd name="connsiteY3" fmla="*/ 4385194 h 4554815"/>
              <a:gd name="connsiteX4" fmla="*/ 495116 w 495116"/>
              <a:gd name="connsiteY4" fmla="*/ 3771414 h 4554815"/>
              <a:gd name="connsiteX5" fmla="*/ 466021 w 495116"/>
              <a:gd name="connsiteY5" fmla="*/ 3782827 h 4554815"/>
              <a:gd name="connsiteX6" fmla="*/ 482994 w 495116"/>
              <a:gd name="connsiteY6" fmla="*/ 370448 h 4554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116" h="4554815">
                <a:moveTo>
                  <a:pt x="484981" y="0"/>
                </a:moveTo>
                <a:lnTo>
                  <a:pt x="43362" y="630320"/>
                </a:lnTo>
                <a:lnTo>
                  <a:pt x="0" y="4554815"/>
                </a:lnTo>
                <a:lnTo>
                  <a:pt x="484123" y="4385194"/>
                </a:lnTo>
                <a:lnTo>
                  <a:pt x="495116" y="3771414"/>
                </a:lnTo>
                <a:lnTo>
                  <a:pt x="466021" y="3782827"/>
                </a:lnTo>
                <a:cubicBezTo>
                  <a:pt x="466280" y="2865719"/>
                  <a:pt x="476637" y="1476643"/>
                  <a:pt x="482994" y="370448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BA5EF075-83E7-774F-B885-37C07770ABA8}"/>
              </a:ext>
            </a:extLst>
          </p:cNvPr>
          <p:cNvSpPr/>
          <p:nvPr/>
        </p:nvSpPr>
        <p:spPr>
          <a:xfrm rot="18300963" flipH="1">
            <a:off x="4607641" y="3724836"/>
            <a:ext cx="1098431" cy="4553250"/>
          </a:xfrm>
          <a:custGeom>
            <a:avLst/>
            <a:gdLst>
              <a:gd name="connsiteX0" fmla="*/ 7678 w 1098431"/>
              <a:gd name="connsiteY0" fmla="*/ 354047 h 4553250"/>
              <a:gd name="connsiteX1" fmla="*/ 0 w 1098431"/>
              <a:gd name="connsiteY1" fmla="*/ 4553250 h 4553250"/>
              <a:gd name="connsiteX2" fmla="*/ 1098431 w 1098431"/>
              <a:gd name="connsiteY2" fmla="*/ 2985463 h 4553250"/>
              <a:gd name="connsiteX3" fmla="*/ 1098431 w 1098431"/>
              <a:gd name="connsiteY3" fmla="*/ 0 h 4553250"/>
              <a:gd name="connsiteX4" fmla="*/ 7678 w 1098431"/>
              <a:gd name="connsiteY4" fmla="*/ 354047 h 455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431" h="4553250">
                <a:moveTo>
                  <a:pt x="7678" y="354047"/>
                </a:moveTo>
                <a:lnTo>
                  <a:pt x="0" y="4553250"/>
                </a:lnTo>
                <a:lnTo>
                  <a:pt x="1098431" y="2985463"/>
                </a:lnTo>
                <a:lnTo>
                  <a:pt x="1098431" y="0"/>
                </a:lnTo>
                <a:cubicBezTo>
                  <a:pt x="734631" y="127326"/>
                  <a:pt x="371478" y="226721"/>
                  <a:pt x="7678" y="35404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0FDB5CF5-44C1-1D4A-A2B9-37C0F30F6278}"/>
              </a:ext>
            </a:extLst>
          </p:cNvPr>
          <p:cNvSpPr/>
          <p:nvPr/>
        </p:nvSpPr>
        <p:spPr>
          <a:xfrm rot="18300963" flipH="1">
            <a:off x="4473394" y="5471677"/>
            <a:ext cx="227425" cy="1880095"/>
          </a:xfrm>
          <a:custGeom>
            <a:avLst/>
            <a:gdLst>
              <a:gd name="connsiteX0" fmla="*/ 0 w 227425"/>
              <a:gd name="connsiteY0" fmla="*/ 96845 h 1880095"/>
              <a:gd name="connsiteX1" fmla="*/ 0 w 227425"/>
              <a:gd name="connsiteY1" fmla="*/ 1880095 h 1880095"/>
              <a:gd name="connsiteX2" fmla="*/ 224453 w 227425"/>
              <a:gd name="connsiteY2" fmla="*/ 1559734 h 1880095"/>
              <a:gd name="connsiteX3" fmla="*/ 225257 w 227425"/>
              <a:gd name="connsiteY3" fmla="*/ 1214869 h 1880095"/>
              <a:gd name="connsiteX4" fmla="*/ 227425 w 227425"/>
              <a:gd name="connsiteY4" fmla="*/ 0 h 1880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425" h="1880095">
                <a:moveTo>
                  <a:pt x="0" y="96845"/>
                </a:moveTo>
                <a:lnTo>
                  <a:pt x="0" y="1880095"/>
                </a:lnTo>
                <a:lnTo>
                  <a:pt x="224453" y="1559734"/>
                </a:lnTo>
                <a:lnTo>
                  <a:pt x="225257" y="1214869"/>
                </a:lnTo>
                <a:cubicBezTo>
                  <a:pt x="225980" y="809913"/>
                  <a:pt x="226237" y="390570"/>
                  <a:pt x="22742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4D8B62A9-4796-7441-BB51-FE9050BD3210}"/>
              </a:ext>
            </a:extLst>
          </p:cNvPr>
          <p:cNvSpPr/>
          <p:nvPr/>
        </p:nvSpPr>
        <p:spPr>
          <a:xfrm rot="18300963" flipH="1">
            <a:off x="6797834" y="-1592612"/>
            <a:ext cx="1110167" cy="5340305"/>
          </a:xfrm>
          <a:custGeom>
            <a:avLst/>
            <a:gdLst>
              <a:gd name="connsiteX0" fmla="*/ 1110167 w 1110167"/>
              <a:gd name="connsiteY0" fmla="*/ 0 h 5340305"/>
              <a:gd name="connsiteX1" fmla="*/ 18977 w 1110167"/>
              <a:gd name="connsiteY1" fmla="*/ 1557452 h 5340305"/>
              <a:gd name="connsiteX2" fmla="*/ 18186 w 1110167"/>
              <a:gd name="connsiteY2" fmla="*/ 1710683 h 5340305"/>
              <a:gd name="connsiteX3" fmla="*/ 0 w 1110167"/>
              <a:gd name="connsiteY3" fmla="*/ 5340305 h 5340305"/>
              <a:gd name="connsiteX4" fmla="*/ 1096070 w 1110167"/>
              <a:gd name="connsiteY4" fmla="*/ 4910334 h 5340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0167" h="5340305">
                <a:moveTo>
                  <a:pt x="1110167" y="0"/>
                </a:moveTo>
                <a:lnTo>
                  <a:pt x="18977" y="1557452"/>
                </a:lnTo>
                <a:lnTo>
                  <a:pt x="18186" y="1710683"/>
                </a:lnTo>
                <a:cubicBezTo>
                  <a:pt x="12041" y="2846813"/>
                  <a:pt x="276" y="4362057"/>
                  <a:pt x="0" y="5340305"/>
                </a:cubicBezTo>
                <a:lnTo>
                  <a:pt x="1096070" y="4910334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E2CC5BE5-129B-7847-BDB4-75DA3D4EA79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970D0B5-60C7-43B7-9391-F41A7E9C2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 noProof="0"/>
              <a:t>Slide divider option-6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AB6562-E57C-4D04-BCF6-D759D38486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77876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Slid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1435E1C6-30B7-4241-944C-C81382685F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B91F8A20-C584-48B2-B8D0-5A7792E52E41}"/>
              </a:ext>
            </a:extLst>
          </p:cNvPr>
          <p:cNvSpPr/>
          <p:nvPr userDrawn="1"/>
        </p:nvSpPr>
        <p:spPr>
          <a:xfrm flipV="1">
            <a:off x="6766830" y="1"/>
            <a:ext cx="5425171" cy="3771437"/>
          </a:xfrm>
          <a:custGeom>
            <a:avLst/>
            <a:gdLst>
              <a:gd name="connsiteX0" fmla="*/ 0 w 5425171"/>
              <a:gd name="connsiteY0" fmla="*/ 3771437 h 3771437"/>
              <a:gd name="connsiteX1" fmla="*/ 5425171 w 5425171"/>
              <a:gd name="connsiteY1" fmla="*/ 3771437 h 3771437"/>
              <a:gd name="connsiteX2" fmla="*/ 5425171 w 5425171"/>
              <a:gd name="connsiteY2" fmla="*/ 0 h 3771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25171" h="3771437">
                <a:moveTo>
                  <a:pt x="0" y="3771437"/>
                </a:moveTo>
                <a:lnTo>
                  <a:pt x="5425171" y="3771437"/>
                </a:lnTo>
                <a:lnTo>
                  <a:pt x="5425171" y="0"/>
                </a:lnTo>
                <a:close/>
              </a:path>
            </a:pathLst>
          </a:custGeom>
          <a:solidFill>
            <a:schemeClr val="accent1"/>
          </a:solidFill>
          <a:ln w="15691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C369F7-26ED-4748-B416-400F4315F894}"/>
              </a:ext>
            </a:extLst>
          </p:cNvPr>
          <p:cNvSpPr/>
          <p:nvPr userDrawn="1"/>
        </p:nvSpPr>
        <p:spPr>
          <a:xfrm rot="18300963" flipH="1">
            <a:off x="7568200" y="-802590"/>
            <a:ext cx="418585" cy="2961934"/>
          </a:xfrm>
          <a:custGeom>
            <a:avLst/>
            <a:gdLst>
              <a:gd name="connsiteX0" fmla="*/ 418585 w 418585"/>
              <a:gd name="connsiteY0" fmla="*/ 0 h 2961934"/>
              <a:gd name="connsiteX1" fmla="*/ 0 w 418585"/>
              <a:gd name="connsiteY1" fmla="*/ 597446 h 2961934"/>
              <a:gd name="connsiteX2" fmla="*/ 0 w 418585"/>
              <a:gd name="connsiteY2" fmla="*/ 2961934 h 2961934"/>
              <a:gd name="connsiteX3" fmla="*/ 418585 w 418585"/>
              <a:gd name="connsiteY3" fmla="*/ 2808101 h 296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585" h="2961934">
                <a:moveTo>
                  <a:pt x="418585" y="0"/>
                </a:moveTo>
                <a:lnTo>
                  <a:pt x="0" y="597446"/>
                </a:lnTo>
                <a:lnTo>
                  <a:pt x="0" y="2961934"/>
                </a:lnTo>
                <a:lnTo>
                  <a:pt x="418585" y="2808101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586800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447675" algn="l"/>
              </a:tabLst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73F4034-F802-8147-9CE9-2FDF5990DA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68000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A190A09-38DF-44F3-867C-A471B79F10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51261" y="2832692"/>
            <a:ext cx="7140739" cy="4025309"/>
          </a:xfrm>
          <a:custGeom>
            <a:avLst/>
            <a:gdLst>
              <a:gd name="connsiteX0" fmla="*/ 5790363 w 7140739"/>
              <a:gd name="connsiteY0" fmla="*/ 0 h 4025309"/>
              <a:gd name="connsiteX1" fmla="*/ 7140739 w 7140739"/>
              <a:gd name="connsiteY1" fmla="*/ 938746 h 4025309"/>
              <a:gd name="connsiteX2" fmla="*/ 7140739 w 7140739"/>
              <a:gd name="connsiteY2" fmla="*/ 4025309 h 4025309"/>
              <a:gd name="connsiteX3" fmla="*/ 0 w 7140739"/>
              <a:gd name="connsiteY3" fmla="*/ 4025309 h 402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40739" h="4025309">
                <a:moveTo>
                  <a:pt x="5790363" y="0"/>
                </a:moveTo>
                <a:lnTo>
                  <a:pt x="7140739" y="938746"/>
                </a:lnTo>
                <a:lnTo>
                  <a:pt x="7140739" y="4025309"/>
                </a:lnTo>
                <a:lnTo>
                  <a:pt x="0" y="4025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Freeform 17">
            <a:extLst>
              <a:ext uri="{FF2B5EF4-FFF2-40B4-BE49-F238E27FC236}">
                <a16:creationId xmlns:a16="http://schemas.microsoft.com/office/drawing/2014/main" id="{B6240B64-00A8-4FE7-AA5A-4A2F8B98F2A4}"/>
              </a:ext>
            </a:extLst>
          </p:cNvPr>
          <p:cNvSpPr/>
          <p:nvPr userDrawn="1"/>
        </p:nvSpPr>
        <p:spPr>
          <a:xfrm rot="3299037" flipH="1" flipV="1">
            <a:off x="5974493" y="4464643"/>
            <a:ext cx="316395" cy="3206138"/>
          </a:xfrm>
          <a:custGeom>
            <a:avLst/>
            <a:gdLst>
              <a:gd name="connsiteX0" fmla="*/ 316395 w 316395"/>
              <a:gd name="connsiteY0" fmla="*/ 3162580 h 3206138"/>
              <a:gd name="connsiteX1" fmla="*/ 0 w 316395"/>
              <a:gd name="connsiteY1" fmla="*/ 3206138 h 3206138"/>
              <a:gd name="connsiteX2" fmla="*/ 0 w 316395"/>
              <a:gd name="connsiteY2" fmla="*/ 451589 h 3206138"/>
              <a:gd name="connsiteX3" fmla="*/ 316395 w 316395"/>
              <a:gd name="connsiteY3" fmla="*/ 0 h 320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395" h="3206138">
                <a:moveTo>
                  <a:pt x="316395" y="3162580"/>
                </a:moveTo>
                <a:lnTo>
                  <a:pt x="0" y="3206138"/>
                </a:lnTo>
                <a:lnTo>
                  <a:pt x="0" y="451589"/>
                </a:lnTo>
                <a:lnTo>
                  <a:pt x="3163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C4703DF-3E8F-47BA-BB4F-7408A471CB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6FAD8E-BF2F-4E8F-8FBC-5DBC65D769D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58F2F8-A64B-47AC-BB12-214DCFC4F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0" y="388800"/>
            <a:ext cx="5868000" cy="990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04C4781-1C6F-4AD7-ABBE-AF369B7688D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4000" y="2250000"/>
            <a:ext cx="5868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7201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Sub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F740B43-BCE3-48B4-A408-DEABA1AA5B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2249826"/>
            <a:ext cx="11303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730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503197B-A40F-451E-B6DA-084A5A1A2B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87540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0C6F6E-D956-4630-B168-B51632E277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1773238"/>
            <a:ext cx="11303999" cy="43645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4151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404D3DD-A8C5-4AF4-A4E4-A188F633D1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1552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45F975-90D8-4FC9-9785-ADBE8EB862F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B0EA591-0F76-4C5D-A80F-BE3FFDBDE3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5F455DBC-1E38-439B-BEB5-04B5EAD319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630176-F6B5-47F2-8078-132CA09BA10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35BF33-BB6E-45E7-8DA2-B771B41B93E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799" y="2249826"/>
            <a:ext cx="5399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99B19804-BB2B-4735-8B2C-A604FF508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6799" y="2249826"/>
            <a:ext cx="5399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519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E5423F6E-0382-4DF4-9C5E-E470F9F31A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96263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1B7B52BA-04B5-47EB-9317-AC1C3DE483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4581D52-5A11-4CEF-A19A-C47F763A7B43}"/>
              </a:ext>
            </a:extLst>
          </p:cNvPr>
          <p:cNvSpPr/>
          <p:nvPr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1"/>
              </a:gs>
              <a:gs pos="98000">
                <a:srgbClr val="073262"/>
              </a:gs>
              <a:gs pos="33000">
                <a:schemeClr val="accent2"/>
              </a:gs>
              <a:gs pos="0">
                <a:srgbClr val="073262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800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3728C49-8B97-44DE-B314-372422AECD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C4AAAD0-4193-42FD-A688-B0CD9CED6745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E2A8F19F-DE6E-4F6F-B1FB-F82B517C455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1EA3C23-FE46-4BD5-AC99-6025EBCE08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4766BF9-5F7D-49F6-81BD-0B4EBA1BC19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39C241-A37E-4FB1-AB6F-5454AC48439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2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B9B68F2-D439-4594-AC54-2D97003187A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370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49A707FB-2749-4A62-9BFA-375267A10C6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8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D3ACC19A-B912-4B59-B8C0-B7B50203303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226798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343244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01185C5-077B-4940-8CF0-01FC961ECB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360925D-64BD-4B3C-8A81-8518ADDBB2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42799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0383EBB-A0B3-47F7-87D6-8932F29B6F8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799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390A7376-F8D9-485E-ACF1-C6D581D91DF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254798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3888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7363E61-7CF1-A94D-B206-5B49A9CC1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8966" y="141209"/>
            <a:ext cx="9663034" cy="6716791"/>
          </a:xfrm>
          <a:custGeom>
            <a:avLst/>
            <a:gdLst>
              <a:gd name="connsiteX0" fmla="*/ 9663034 w 9663034"/>
              <a:gd name="connsiteY0" fmla="*/ 0 h 6716791"/>
              <a:gd name="connsiteX1" fmla="*/ 9663034 w 9663034"/>
              <a:gd name="connsiteY1" fmla="*/ 4814575 h 6716791"/>
              <a:gd name="connsiteX2" fmla="*/ 6941731 w 9663034"/>
              <a:gd name="connsiteY2" fmla="*/ 6716791 h 6716791"/>
              <a:gd name="connsiteX3" fmla="*/ 0 w 9663034"/>
              <a:gd name="connsiteY3" fmla="*/ 6716791 h 6716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63034" h="6716791">
                <a:moveTo>
                  <a:pt x="9663034" y="0"/>
                </a:moveTo>
                <a:lnTo>
                  <a:pt x="9663034" y="4814575"/>
                </a:lnTo>
                <a:lnTo>
                  <a:pt x="6941731" y="6716791"/>
                </a:lnTo>
                <a:lnTo>
                  <a:pt x="0" y="67167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2645439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6A93C236-DDC8-AB42-B158-C3A75D5725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EB28338C-0118-4339-8B11-1628D97D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1246559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842DA984-1D2F-2140-8491-B516D776CAC4}"/>
              </a:ext>
            </a:extLst>
          </p:cNvPr>
          <p:cNvSpPr/>
          <p:nvPr userDrawn="1"/>
        </p:nvSpPr>
        <p:spPr>
          <a:xfrm>
            <a:off x="0" y="4910678"/>
            <a:ext cx="4279900" cy="1947322"/>
          </a:xfrm>
          <a:custGeom>
            <a:avLst/>
            <a:gdLst>
              <a:gd name="connsiteX0" fmla="*/ 1467015 w 4279900"/>
              <a:gd name="connsiteY0" fmla="*/ 0 h 1947322"/>
              <a:gd name="connsiteX1" fmla="*/ 4279900 w 4279900"/>
              <a:gd name="connsiteY1" fmla="*/ 1947322 h 1947322"/>
              <a:gd name="connsiteX2" fmla="*/ 0 w 4279900"/>
              <a:gd name="connsiteY2" fmla="*/ 1947322 h 1947322"/>
              <a:gd name="connsiteX3" fmla="*/ 0 w 4279900"/>
              <a:gd name="connsiteY3" fmla="*/ 1020577 h 194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79900" h="1947322">
                <a:moveTo>
                  <a:pt x="1467015" y="0"/>
                </a:moveTo>
                <a:lnTo>
                  <a:pt x="4279900" y="1947322"/>
                </a:lnTo>
                <a:lnTo>
                  <a:pt x="0" y="1947322"/>
                </a:lnTo>
                <a:lnTo>
                  <a:pt x="0" y="102057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321975A5-5726-314A-B546-DA0044580E14}"/>
              </a:ext>
            </a:extLst>
          </p:cNvPr>
          <p:cNvSpPr/>
          <p:nvPr userDrawn="1"/>
        </p:nvSpPr>
        <p:spPr>
          <a:xfrm>
            <a:off x="1745857" y="5440650"/>
            <a:ext cx="2442751" cy="1417350"/>
          </a:xfrm>
          <a:custGeom>
            <a:avLst/>
            <a:gdLst>
              <a:gd name="connsiteX0" fmla="*/ 2031703 w 2442751"/>
              <a:gd name="connsiteY0" fmla="*/ 0 h 1417350"/>
              <a:gd name="connsiteX1" fmla="*/ 2442751 w 2442751"/>
              <a:gd name="connsiteY1" fmla="*/ 267995 h 1417350"/>
              <a:gd name="connsiteX2" fmla="*/ 783199 w 2442751"/>
              <a:gd name="connsiteY2" fmla="*/ 1417350 h 1417350"/>
              <a:gd name="connsiteX3" fmla="*/ 0 w 2442751"/>
              <a:gd name="connsiteY3" fmla="*/ 1417350 h 141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751" h="1417350">
                <a:moveTo>
                  <a:pt x="2031703" y="0"/>
                </a:moveTo>
                <a:lnTo>
                  <a:pt x="2442751" y="267995"/>
                </a:lnTo>
                <a:lnTo>
                  <a:pt x="783199" y="1417350"/>
                </a:lnTo>
                <a:lnTo>
                  <a:pt x="0" y="141735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8D284C-7154-401F-9518-EB35035E34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2 Copyright Genpact. All Rights Reserved.</a:t>
            </a:r>
          </a:p>
        </p:txBody>
      </p:sp>
      <p:sp>
        <p:nvSpPr>
          <p:cNvPr id="30" name="Freeform 28">
            <a:extLst>
              <a:ext uri="{FF2B5EF4-FFF2-40B4-BE49-F238E27FC236}">
                <a16:creationId xmlns:a16="http://schemas.microsoft.com/office/drawing/2014/main" id="{447BDDC6-505D-4732-B677-284CBEC734D1}"/>
              </a:ext>
            </a:extLst>
          </p:cNvPr>
          <p:cNvSpPr/>
          <p:nvPr userDrawn="1"/>
        </p:nvSpPr>
        <p:spPr>
          <a:xfrm rot="10800000">
            <a:off x="9763185" y="-1"/>
            <a:ext cx="2428815" cy="1426848"/>
          </a:xfrm>
          <a:custGeom>
            <a:avLst/>
            <a:gdLst>
              <a:gd name="connsiteX0" fmla="*/ 991465 w 2428815"/>
              <a:gd name="connsiteY0" fmla="*/ 1426848 h 1426848"/>
              <a:gd name="connsiteX1" fmla="*/ 0 w 2428815"/>
              <a:gd name="connsiteY1" fmla="*/ 1426848 h 1426848"/>
              <a:gd name="connsiteX2" fmla="*/ 0 w 2428815"/>
              <a:gd name="connsiteY2" fmla="*/ 1283606 h 1426848"/>
              <a:gd name="connsiteX3" fmla="*/ 1845489 w 2428815"/>
              <a:gd name="connsiteY3" fmla="*/ 0 h 1426848"/>
              <a:gd name="connsiteX4" fmla="*/ 2428815 w 2428815"/>
              <a:gd name="connsiteY4" fmla="*/ 399380 h 1426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8815" h="1426848">
                <a:moveTo>
                  <a:pt x="991465" y="1426848"/>
                </a:moveTo>
                <a:lnTo>
                  <a:pt x="0" y="1426848"/>
                </a:lnTo>
                <a:lnTo>
                  <a:pt x="0" y="1283606"/>
                </a:lnTo>
                <a:lnTo>
                  <a:pt x="1845489" y="0"/>
                </a:lnTo>
                <a:lnTo>
                  <a:pt x="2428815" y="39938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9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A5D467-3077-47DD-939A-561425A39FE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722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Object Box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1A0431F0-8CC8-49B2-BF38-C64BE300FA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DCDD012-C59E-408C-9BC6-87284E8CBC4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6798" y="2249827"/>
            <a:ext cx="5400000" cy="3096000"/>
          </a:xfrm>
          <a:prstGeom prst="rect">
            <a:avLst/>
          </a:prstGeom>
        </p:spPr>
        <p:txBody>
          <a:bodyPr anchor="ctr" anchorCtr="0"/>
          <a:lstStyle>
            <a:lvl1pPr algn="ctr"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CBDA8CD-2DCF-4C62-A004-4DB0541924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6798" y="5448612"/>
            <a:ext cx="5400000" cy="68921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2pPr>
            <a:lvl3pPr marL="269875" indent="-269875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sz="1400">
                <a:solidFill>
                  <a:schemeClr val="tx2"/>
                </a:solidFill>
              </a:defRPr>
            </a:lvl3pPr>
            <a:lvl4pPr marL="503238" indent="-233363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</a:defRPr>
            </a:lvl4pPr>
            <a:lvl5pPr marL="717550" indent="-193675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lang="en-GB" sz="105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insert chart comment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4264AD-E771-4AD5-B1EE-AD1A80E273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6DA62B6-9735-4EA3-AD07-FF34EF82BD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7AC1B6-E17D-439D-A681-3E7005DA409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988B8B-FFD1-4F96-AC27-37F2C24F27E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2799" y="2249827"/>
            <a:ext cx="540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31916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568E834-5CC4-4939-BBCE-0A3FE71A54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0" name="Table Placeholder 2">
            <a:extLst>
              <a:ext uri="{FF2B5EF4-FFF2-40B4-BE49-F238E27FC236}">
                <a16:creationId xmlns:a16="http://schemas.microsoft.com/office/drawing/2014/main" id="{B0D006F0-61D9-476E-AD83-77162C97648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156169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082C62B-85C9-4697-8529-D9FA1343B6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C54E401-1D0D-436B-85F4-4704AD03A9E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8545974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 Corner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162050-E955-4275-BEF2-5423D0077F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9AC699-128E-45D5-B4BD-EAC43A48A49E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72390D-159B-4196-85C8-AA23F030744B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6685164-D677-427B-80C8-FE067C72B49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7020BA19-38E8-4FDA-B53A-16F1C13492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BAFA92-4783-4C5A-8253-6644BF0A1D2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8587820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125578B-6503-4AC1-BE39-49EE58B3EA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CA5AE9-16F5-49C5-B31D-EEE1E47188C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A9CFC4A-1CEB-4790-BACF-6EA17DF30D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379C90-D03A-4E69-A2E9-B510124AEE8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993446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To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FE8928F8-8E19-482D-8DBC-79B7F215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369FB11-7907-467F-8696-2250886D64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75645" y="2852103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431397E-CA6D-447B-89CE-7141F15223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2852103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1F11-552E-4AC1-B90D-84C47A0F5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232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904BCC42-990A-4C9D-B509-29DF24C802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1600" y="2196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DF459731-1012-4F51-AB8C-A81255FA38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69592" y="4016631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02522068-1D86-4299-A574-347C2821CAF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912" y="4016631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22D0734C-534D-4AAB-B46F-E3DC9C987D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81700" y="5181159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E3E31F3B-3F47-424E-9E3A-E3D439B3A60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196" y="5181159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7F8775-4EFF-497B-A127-D347C4E65B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19C3E27-EA49-4C1F-88F7-145D73459B6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50CD98-A671-4A84-BAA9-FF4FA6646D38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2F17EEC5-3654-468C-B185-1F74B0965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C7B8E5D-5373-4534-B7A6-D90C6CCED9D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424982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79942E38-DA26-4B18-AFCB-A57E62078A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977456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977455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601033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601033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610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8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52280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609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8992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5275650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0DE3D9A-5745-456B-8E35-49AEDDA27D34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7353E-1508-4EB2-B032-CFE0208BB6B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61DE440B-C47F-416C-8AEC-F66503201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C20A41-BC4E-4146-B326-26BC80025289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030566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4B8BAC0D-870B-4BF1-AF05-F29BD7F64D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530014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530014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27492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27492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Fusce posuere, magna sed pulvinar ultricies, purus lectus malesuada libero, sit amet commodo magna eros quis urna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249702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249702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1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36067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481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 marL="0" indent="0">
              <a:buNone/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38589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441111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543633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E471F1E-DBD6-42B4-BC7F-68658494AEC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2B1C5B1-DD5C-46BD-9171-3F3551A3196C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CA5EF783-E964-4A68-BFA0-29D6D51481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B2A3D8-BFDF-4F41-AF46-F35B3FC27A8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712181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5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46442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46441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38376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38375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031084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0309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porttitor congue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lectus </a:t>
            </a:r>
            <a:r>
              <a:rPr lang="en-US" err="1"/>
              <a:t>malesuada</a:t>
            </a:r>
            <a:r>
              <a:rPr lang="en-US"/>
              <a:t> libero, sit amet </a:t>
            </a:r>
            <a:r>
              <a:rPr lang="en-US" err="1"/>
              <a:t>commodo</a:t>
            </a:r>
            <a:r>
              <a:rPr lang="en-US"/>
              <a:t>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28322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3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 marL="0" indent="0">
              <a:buNone/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0898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38964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47030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F26204A4-94F4-4D0B-A32D-54BA8095E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834" y="5450885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BC8A2927-6011-4622-A038-F2F7EAC093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91363" y="5450755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7EA2F73C-E0F4-45B1-AB8F-530A19B435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5" y="55096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5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FCE79156-B96F-4F0A-B2E6-29388CAA0C8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95460F8E-68BE-4EED-81CC-C73F28ABEB6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ooter Placeholder 3">
            <a:extLst>
              <a:ext uri="{FF2B5EF4-FFF2-40B4-BE49-F238E27FC236}">
                <a16:creationId xmlns:a16="http://schemas.microsoft.com/office/drawing/2014/main" id="{18AE67F5-F98A-4F06-BBD7-E2724C877E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36C93BA-B2DB-45DF-8168-9205478FAB4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2884195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e Overview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6390E544-F9C7-46B5-9967-B0184FCBF7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79880F-2137-47AB-9566-C8A09E1C8E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20775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4CCA4F3-8BB7-4518-8D07-F4EBBBD39F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1955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5A37B0B-0741-485F-996D-2A2215AD59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833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DB37BA3-47E7-413A-B0E7-2CD9DCDEE8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17119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0" name="Title 3">
            <a:extLst>
              <a:ext uri="{FF2B5EF4-FFF2-40B4-BE49-F238E27FC236}">
                <a16:creationId xmlns:a16="http://schemas.microsoft.com/office/drawing/2014/main" id="{E38D729D-5227-49D7-9785-1DC1DF80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EB6EBEF1-2298-410B-9293-C27A9A420B8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EDF3697C-568B-4AA1-9EF3-9113E2541E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799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20E879FB-0ECA-4094-A26D-0870481E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1580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B7EAE9F-C1C2-4E54-947F-1DAF3E582D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361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12F1173-5541-4125-8BBE-11308C342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39143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942C6F7-BF76-41F2-9314-4E67256E96B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74E6F3-834D-466B-90E1-E0AC0A9201E5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DD6F617-9647-465D-AF6F-DC346B76746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36714-818D-4C9A-A027-DF755969998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C4FAD300-8076-4D37-8AE8-A3847079D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F763012-A5D4-4F14-B146-970A28A8F8C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7607230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3627052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519455F8-E443-2E47-84AE-B5E3AB72DCED}"/>
              </a:ext>
            </a:extLst>
          </p:cNvPr>
          <p:cNvSpPr/>
          <p:nvPr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7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5C50561-D087-47A2-8E0E-B095F51A359E}"/>
              </a:ext>
            </a:extLst>
          </p:cNvPr>
          <p:cNvSpPr/>
          <p:nvPr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1CDB2D-7FA5-4BA7-AEA0-FE2551E49C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260570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6F10E259-8957-4A25-A1FE-6233728BBD6A}"/>
              </a:ext>
            </a:extLst>
          </p:cNvPr>
          <p:cNvSpPr/>
          <p:nvPr userDrawn="1"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27166BE-C525-4B89-9317-E7513C3FD974}"/>
              </a:ext>
            </a:extLst>
          </p:cNvPr>
          <p:cNvSpPr/>
          <p:nvPr userDrawn="1"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E0280A-C911-477A-9CA7-94686E8EAF5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51B5DFE-8647-49A7-BA9A-2D61704E1D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9E407E-3FDA-43A1-8AFD-D4C5DBD5A7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2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14788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D1040E6-DB8E-454F-A1C6-10E6553195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3084D-ACDD-6849-8479-977F2DBF36CB}"/>
              </a:ext>
            </a:extLst>
          </p:cNvPr>
          <p:cNvSpPr/>
          <p:nvPr/>
        </p:nvSpPr>
        <p:spPr>
          <a:xfrm rot="5400000">
            <a:off x="5215165" y="-3348040"/>
            <a:ext cx="1759270" cy="11304000"/>
          </a:xfrm>
          <a:prstGeom prst="rect">
            <a:avLst/>
          </a:prstGeom>
          <a:gradFill>
            <a:gsLst>
              <a:gs pos="27000">
                <a:schemeClr val="accent1">
                  <a:alpha val="5000"/>
                </a:schemeClr>
              </a:gs>
              <a:gs pos="90000">
                <a:schemeClr val="accent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DF5872F-F6BC-7841-B29A-4A0024AAA7BE}"/>
              </a:ext>
            </a:extLst>
          </p:cNvPr>
          <p:cNvCxnSpPr>
            <a:cxnSpLocks/>
          </p:cNvCxnSpPr>
          <p:nvPr/>
        </p:nvCxnSpPr>
        <p:spPr>
          <a:xfrm>
            <a:off x="466722" y="3166948"/>
            <a:ext cx="11304000" cy="0"/>
          </a:xfrm>
          <a:prstGeom prst="line">
            <a:avLst/>
          </a:prstGeom>
          <a:ln w="22225" cap="sq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560374B-2FEC-4C35-99AB-CEDF599EA0B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4277" y="1512514"/>
            <a:ext cx="1723431" cy="1582892"/>
          </a:xfrm>
          <a:prstGeom prst="rect">
            <a:avLst/>
          </a:prstGeom>
          <a:blipFill>
            <a:blip r:embed="rId5"/>
            <a:stretch>
              <a:fillRect t="-13941" b="-37632"/>
            </a:stretch>
          </a:blipFill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3253B7-AD4B-4584-A3FB-5A39DAECC47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442947" y="1779999"/>
            <a:ext cx="3348000" cy="1260000"/>
          </a:xfrm>
        </p:spPr>
        <p:txBody>
          <a:bodyPr/>
          <a:lstStyle>
            <a:lvl1pPr marL="252000" indent="-252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■"/>
              <a:defRPr sz="1200">
                <a:solidFill>
                  <a:schemeClr val="bg1"/>
                </a:solidFill>
              </a:defRPr>
            </a:lvl1pPr>
            <a:lvl2pPr marL="504000">
              <a:spcBef>
                <a:spcPts val="600"/>
              </a:spcBef>
              <a:buClr>
                <a:schemeClr val="bg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bg1"/>
                </a:solidFill>
              </a:defRPr>
            </a:lvl2pPr>
            <a:lvl3pPr marL="756000">
              <a:spcBef>
                <a:spcPts val="3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1D7E15C-5201-465D-94F1-58DF8A2A3E3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971045" y="1779999"/>
            <a:ext cx="378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D9D017-591F-4130-B8A8-3B543BDE478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931142" y="1779999"/>
            <a:ext cx="180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FB4C1B4-E0BE-4F26-A448-A7CF52CEBC5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2799" y="3605213"/>
            <a:ext cx="381600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EAC7EFF-C2B4-45C5-B792-B039CBB5EE8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89832" y="3605213"/>
            <a:ext cx="431028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dirty="0" smtClean="0">
                <a:solidFill>
                  <a:schemeClr val="bg1"/>
                </a:solidFill>
              </a:defRPr>
            </a:lvl1pPr>
            <a:lvl2pPr>
              <a:defRPr lang="en-US" sz="1200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sz="1200" b="0" dirty="0" smtClean="0">
                <a:solidFill>
                  <a:schemeClr val="bg1"/>
                </a:solidFill>
              </a:defRPr>
            </a:lvl4pPr>
            <a:lvl5pPr>
              <a:defRPr lang="en-US" sz="1200" dirty="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4654698-0003-4FE3-ADA4-E7AF24A3611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9031144" y="3605214"/>
            <a:ext cx="2700000" cy="72759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dirty="0" smtClean="0">
                <a:solidFill>
                  <a:schemeClr val="bg1"/>
                </a:solidFill>
              </a:defRPr>
            </a:lvl1pPr>
            <a:lvl2pPr>
              <a:buNone/>
              <a:defRPr lang="en-US" sz="1200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sz="1200" b="0" dirty="0" smtClean="0">
                <a:solidFill>
                  <a:schemeClr val="bg1"/>
                </a:solidFill>
              </a:defRPr>
            </a:lvl4pPr>
            <a:lvl5pPr>
              <a:defRPr lang="en-US" sz="1200" dirty="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97955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F0F05FBA-A77C-4E16-B6B6-9D2CA0F1FD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40" name="Picture Placeholder 16">
            <a:extLst>
              <a:ext uri="{FF2B5EF4-FFF2-40B4-BE49-F238E27FC236}">
                <a16:creationId xmlns:a16="http://schemas.microsoft.com/office/drawing/2014/main" id="{4E722CF8-E930-4BEA-A60F-E0E575C70C7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64302" y="155545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accent2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DE14A7-5854-400A-86FF-2487462EA52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442947" y="1779999"/>
            <a:ext cx="3348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5767480-49E3-435C-BB96-3B6BFE3DDF1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971045" y="1779999"/>
            <a:ext cx="378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9476E80-FC3E-4911-AEB1-E2D1DD08607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931142" y="1779999"/>
            <a:ext cx="180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33705BB-A763-40E5-B5E0-7FEDBC6BBA1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2799" y="3605213"/>
            <a:ext cx="381600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FF3360C-732E-4D01-AA8C-A329747680E7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489832" y="3605213"/>
            <a:ext cx="431028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9127438-5669-4BE6-8B97-A2FFD58A21F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031144" y="3605214"/>
            <a:ext cx="2700000" cy="72759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43015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32E7F5F-6DA6-47CB-9B20-9008A2928B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2777213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409A921-69CE-4E73-8C64-4D322B88B0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65DC36-62B1-4EA9-8B58-1F8769E3773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2647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adsho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8E90BAC-3030-4955-80B2-8C3BA1224B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20BDA3C6-2C55-4EC0-92A0-2FA57310BA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58151" y="1617885"/>
            <a:ext cx="1224430" cy="1298310"/>
          </a:xfrm>
          <a:prstGeom prst="rect">
            <a:avLst/>
          </a:prstGeom>
          <a:blipFill dpi="0" rotWithShape="1">
            <a:blip r:embed="rId5"/>
            <a:srcRect/>
            <a:stretch>
              <a:fillRect l="-9877" t="1" r="-9275" b="-5820"/>
            </a:stretch>
          </a:blipFill>
          <a:ln w="31750">
            <a:noFill/>
          </a:ln>
          <a:effectLst/>
        </p:spPr>
        <p:txBody>
          <a:bodyPr wrap="square" lIns="72000" anchor="t" anchorCtr="0">
            <a:noAutofit/>
          </a:bodyPr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Insert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B4BFA0FB-D432-426F-97B1-7818E2426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4762EA-DFCD-4F24-9797-407D63DA917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287793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xagon Headsho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89E08BC-221A-4E1C-A353-29149A90C7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  <a:noFill/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DFB4B834-C56F-490A-BC1C-C54AB928B9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61536" y="151853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 w="15875">
            <a:solidFill>
              <a:srgbClr val="00AECF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1CF07C63-A834-4BF2-9FCB-33E559B5F4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B678BD-E31D-4A5B-A4E4-810EC221D82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65865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6ECA7B-CD40-42BA-AF71-AFCBFCDB44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B9B8EA-2AC0-486B-955D-5AFD90844E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E7F6BA-6FF3-4807-A992-128446656EBE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023031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xagon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C3BF6C42-748F-4DB3-B568-4B9DC8FC37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8EA4DB-4218-498A-AEC4-23CC43FE457F}"/>
              </a:ext>
            </a:extLst>
          </p:cNvPr>
          <p:cNvSpPr/>
          <p:nvPr userDrawn="1"/>
        </p:nvSpPr>
        <p:spPr>
          <a:xfrm>
            <a:off x="4490359" y="2049775"/>
            <a:ext cx="1592941" cy="1808204"/>
          </a:xfrm>
          <a:custGeom>
            <a:avLst/>
            <a:gdLst>
              <a:gd name="connsiteX0" fmla="*/ 1606503 w 1592941"/>
              <a:gd name="connsiteY0" fmla="*/ 0 h 1808203"/>
              <a:gd name="connsiteX1" fmla="*/ 1606503 w 1592941"/>
              <a:gd name="connsiteY1" fmla="*/ 1358090 h 1808203"/>
              <a:gd name="connsiteX2" fmla="*/ 972555 w 1592941"/>
              <a:gd name="connsiteY2" fmla="*/ 1804114 h 1808203"/>
              <a:gd name="connsiteX3" fmla="*/ 972555 w 1592941"/>
              <a:gd name="connsiteY3" fmla="*/ 1809065 h 1808203"/>
              <a:gd name="connsiteX4" fmla="*/ 0 w 1592941"/>
              <a:gd name="connsiteY4" fmla="*/ 1130127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941" h="1808203">
                <a:moveTo>
                  <a:pt x="1606503" y="0"/>
                </a:moveTo>
                <a:lnTo>
                  <a:pt x="1606503" y="1358090"/>
                </a:lnTo>
                <a:lnTo>
                  <a:pt x="972555" y="1804114"/>
                </a:lnTo>
                <a:lnTo>
                  <a:pt x="972555" y="1809065"/>
                </a:lnTo>
                <a:lnTo>
                  <a:pt x="0" y="1130127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68B9C2E-6668-4C07-95F1-CB22EEC5D65E}"/>
              </a:ext>
            </a:extLst>
          </p:cNvPr>
          <p:cNvSpPr/>
          <p:nvPr userDrawn="1"/>
        </p:nvSpPr>
        <p:spPr>
          <a:xfrm>
            <a:off x="6096862" y="2046977"/>
            <a:ext cx="1614467" cy="1808204"/>
          </a:xfrm>
          <a:custGeom>
            <a:avLst/>
            <a:gdLst>
              <a:gd name="connsiteX0" fmla="*/ 1615113 w 1614467"/>
              <a:gd name="connsiteY0" fmla="*/ 1138953 h 1808203"/>
              <a:gd name="connsiteX1" fmla="*/ 1615113 w 1614467"/>
              <a:gd name="connsiteY1" fmla="*/ 1139168 h 1808203"/>
              <a:gd name="connsiteX2" fmla="*/ 633947 w 1614467"/>
              <a:gd name="connsiteY2" fmla="*/ 1818321 h 1808203"/>
              <a:gd name="connsiteX3" fmla="*/ 633947 w 1614467"/>
              <a:gd name="connsiteY3" fmla="*/ 1806912 h 1808203"/>
              <a:gd name="connsiteX4" fmla="*/ 1507 w 1614467"/>
              <a:gd name="connsiteY4" fmla="*/ 1359812 h 1808203"/>
              <a:gd name="connsiteX5" fmla="*/ 0 w 1614467"/>
              <a:gd name="connsiteY5" fmla="*/ 1360889 h 1808203"/>
              <a:gd name="connsiteX6" fmla="*/ 0 w 1614467"/>
              <a:gd name="connsiteY6" fmla="*/ 2798 h 1808203"/>
              <a:gd name="connsiteX7" fmla="*/ 3875 w 1614467"/>
              <a:gd name="connsiteY7" fmla="*/ 0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4467" h="1808203">
                <a:moveTo>
                  <a:pt x="1615113" y="1138953"/>
                </a:moveTo>
                <a:lnTo>
                  <a:pt x="1615113" y="1139168"/>
                </a:lnTo>
                <a:lnTo>
                  <a:pt x="633947" y="1818321"/>
                </a:lnTo>
                <a:lnTo>
                  <a:pt x="633947" y="1806912"/>
                </a:lnTo>
                <a:lnTo>
                  <a:pt x="1507" y="1359812"/>
                </a:lnTo>
                <a:lnTo>
                  <a:pt x="0" y="1360889"/>
                </a:lnTo>
                <a:lnTo>
                  <a:pt x="0" y="2798"/>
                </a:lnTo>
                <a:lnTo>
                  <a:pt x="3875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2C4371-8AB2-4223-BBB9-9B8FF4C11085}"/>
              </a:ext>
            </a:extLst>
          </p:cNvPr>
          <p:cNvSpPr/>
          <p:nvPr userDrawn="1"/>
        </p:nvSpPr>
        <p:spPr>
          <a:xfrm>
            <a:off x="6722414" y="3186145"/>
            <a:ext cx="968680" cy="2238728"/>
          </a:xfrm>
          <a:custGeom>
            <a:avLst/>
            <a:gdLst>
              <a:gd name="connsiteX0" fmla="*/ 989561 w 968680"/>
              <a:gd name="connsiteY0" fmla="*/ 0 h 2238728"/>
              <a:gd name="connsiteX1" fmla="*/ 989561 w 968680"/>
              <a:gd name="connsiteY1" fmla="*/ 2238083 h 2238728"/>
              <a:gd name="connsiteX2" fmla="*/ 986117 w 968680"/>
              <a:gd name="connsiteY2" fmla="*/ 2240451 h 2238728"/>
              <a:gd name="connsiteX3" fmla="*/ 0 w 968680"/>
              <a:gd name="connsiteY3" fmla="*/ 1552041 h 2238728"/>
              <a:gd name="connsiteX4" fmla="*/ 8395 w 968680"/>
              <a:gd name="connsiteY4" fmla="*/ 1546229 h 2238728"/>
              <a:gd name="connsiteX5" fmla="*/ 8395 w 968680"/>
              <a:gd name="connsiteY5" fmla="*/ 679153 h 223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8680" h="2238728">
                <a:moveTo>
                  <a:pt x="989561" y="0"/>
                </a:moveTo>
                <a:lnTo>
                  <a:pt x="989561" y="2238083"/>
                </a:lnTo>
                <a:lnTo>
                  <a:pt x="986117" y="2240451"/>
                </a:lnTo>
                <a:lnTo>
                  <a:pt x="0" y="1552041"/>
                </a:lnTo>
                <a:lnTo>
                  <a:pt x="8395" y="1546229"/>
                </a:lnTo>
                <a:lnTo>
                  <a:pt x="8395" y="679153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4ECC8C-1257-4D1B-B1F3-8689EED79010}"/>
              </a:ext>
            </a:extLst>
          </p:cNvPr>
          <p:cNvSpPr/>
          <p:nvPr userDrawn="1"/>
        </p:nvSpPr>
        <p:spPr>
          <a:xfrm>
            <a:off x="6096862" y="4738186"/>
            <a:ext cx="1592941" cy="1765151"/>
          </a:xfrm>
          <a:custGeom>
            <a:avLst/>
            <a:gdLst>
              <a:gd name="connsiteX0" fmla="*/ 1611669 w 1592941"/>
              <a:gd name="connsiteY0" fmla="*/ 688409 h 1765151"/>
              <a:gd name="connsiteX1" fmla="*/ 0 w 1592941"/>
              <a:gd name="connsiteY1" fmla="*/ 1785386 h 1765151"/>
              <a:gd name="connsiteX2" fmla="*/ 0 w 1592941"/>
              <a:gd name="connsiteY2" fmla="*/ 425574 h 1765151"/>
              <a:gd name="connsiteX3" fmla="*/ 625552 w 1592941"/>
              <a:gd name="connsiteY3" fmla="*/ 0 h 176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65151">
                <a:moveTo>
                  <a:pt x="1611669" y="688409"/>
                </a:moveTo>
                <a:lnTo>
                  <a:pt x="0" y="1785386"/>
                </a:lnTo>
                <a:lnTo>
                  <a:pt x="0" y="425574"/>
                </a:lnTo>
                <a:lnTo>
                  <a:pt x="625552" y="0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D7F8349-ACC4-4383-99B6-33AAF0248346}"/>
              </a:ext>
            </a:extLst>
          </p:cNvPr>
          <p:cNvSpPr/>
          <p:nvPr userDrawn="1"/>
        </p:nvSpPr>
        <p:spPr>
          <a:xfrm>
            <a:off x="4489713" y="4734957"/>
            <a:ext cx="1592941" cy="1786677"/>
          </a:xfrm>
          <a:custGeom>
            <a:avLst/>
            <a:gdLst>
              <a:gd name="connsiteX0" fmla="*/ 1607149 w 1592941"/>
              <a:gd name="connsiteY0" fmla="*/ 428803 h 1786677"/>
              <a:gd name="connsiteX1" fmla="*/ 1607149 w 1592941"/>
              <a:gd name="connsiteY1" fmla="*/ 1788615 h 1786677"/>
              <a:gd name="connsiteX2" fmla="*/ 0 w 1592941"/>
              <a:gd name="connsiteY2" fmla="*/ 681521 h 1786677"/>
              <a:gd name="connsiteX3" fmla="*/ 984610 w 1592941"/>
              <a:gd name="connsiteY3" fmla="*/ 0 h 1786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86677">
                <a:moveTo>
                  <a:pt x="1607149" y="428803"/>
                </a:moveTo>
                <a:lnTo>
                  <a:pt x="1607149" y="1788615"/>
                </a:lnTo>
                <a:lnTo>
                  <a:pt x="0" y="681521"/>
                </a:lnTo>
                <a:lnTo>
                  <a:pt x="984610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1F91A86-A4FE-4EEA-95A9-ABA2D725D4B1}"/>
              </a:ext>
            </a:extLst>
          </p:cNvPr>
          <p:cNvSpPr/>
          <p:nvPr userDrawn="1"/>
        </p:nvSpPr>
        <p:spPr>
          <a:xfrm>
            <a:off x="4481748" y="3179902"/>
            <a:ext cx="990207" cy="2217202"/>
          </a:xfrm>
          <a:custGeom>
            <a:avLst/>
            <a:gdLst>
              <a:gd name="connsiteX0" fmla="*/ 992575 w 990206"/>
              <a:gd name="connsiteY0" fmla="*/ 1555055 h 2217202"/>
              <a:gd name="connsiteX1" fmla="*/ 7965 w 990206"/>
              <a:gd name="connsiteY1" fmla="*/ 2236576 h 2217202"/>
              <a:gd name="connsiteX2" fmla="*/ 0 w 990206"/>
              <a:gd name="connsiteY2" fmla="*/ 2231194 h 2217202"/>
              <a:gd name="connsiteX3" fmla="*/ 0 w 990206"/>
              <a:gd name="connsiteY3" fmla="*/ 6027 h 2217202"/>
              <a:gd name="connsiteX4" fmla="*/ 8610 w 990206"/>
              <a:gd name="connsiteY4" fmla="*/ 0 h 2217202"/>
              <a:gd name="connsiteX5" fmla="*/ 981166 w 990206"/>
              <a:gd name="connsiteY5" fmla="*/ 678937 h 2217202"/>
              <a:gd name="connsiteX6" fmla="*/ 981166 w 990206"/>
              <a:gd name="connsiteY6" fmla="*/ 1547091 h 22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06" h="2217202">
                <a:moveTo>
                  <a:pt x="992575" y="1555055"/>
                </a:moveTo>
                <a:lnTo>
                  <a:pt x="7965" y="2236576"/>
                </a:lnTo>
                <a:lnTo>
                  <a:pt x="0" y="2231194"/>
                </a:lnTo>
                <a:lnTo>
                  <a:pt x="0" y="6027"/>
                </a:lnTo>
                <a:lnTo>
                  <a:pt x="8610" y="0"/>
                </a:lnTo>
                <a:lnTo>
                  <a:pt x="981166" y="678937"/>
                </a:lnTo>
                <a:lnTo>
                  <a:pt x="981166" y="1547091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 userDrawn="1"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9C2C73CC-7BBA-4AB5-9F31-7A9948DD02C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ACF8BC36-C25E-4E14-81DD-43E6AD7F43E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2799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47" name="Text Placeholder 22">
            <a:extLst>
              <a:ext uri="{FF2B5EF4-FFF2-40B4-BE49-F238E27FC236}">
                <a16:creationId xmlns:a16="http://schemas.microsoft.com/office/drawing/2014/main" id="{8ED2000C-3948-4295-8AB2-77B8EA5FC36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42799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CAEC8480-4C52-4DF4-9AA5-B6002C4CF189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42799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0" name="Text Placeholder 22">
            <a:extLst>
              <a:ext uri="{FF2B5EF4-FFF2-40B4-BE49-F238E27FC236}">
                <a16:creationId xmlns:a16="http://schemas.microsoft.com/office/drawing/2014/main" id="{CC93A6C9-814A-45DA-9A94-78668198253B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42799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1" name="Text Placeholder 22">
            <a:extLst>
              <a:ext uri="{FF2B5EF4-FFF2-40B4-BE49-F238E27FC236}">
                <a16:creationId xmlns:a16="http://schemas.microsoft.com/office/drawing/2014/main" id="{BCC769DA-6390-4C7E-A4D7-0169214C1BD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42799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17FB0337-BD14-4336-B29B-3DCE71A60C79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8316410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663F0B75-7DCF-4676-8D96-0F13787305EA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8316410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772D1169-69D6-46E6-8422-F6D62FEC420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16410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325DA6B-3F84-4F11-8E5F-18FF0C5E2C04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8316410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69" name="Text Placeholder 22">
            <a:extLst>
              <a:ext uri="{FF2B5EF4-FFF2-40B4-BE49-F238E27FC236}">
                <a16:creationId xmlns:a16="http://schemas.microsoft.com/office/drawing/2014/main" id="{F3D91CB9-9423-4706-8307-13B75842526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316410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70" name="Text Placeholder 22">
            <a:extLst>
              <a:ext uri="{FF2B5EF4-FFF2-40B4-BE49-F238E27FC236}">
                <a16:creationId xmlns:a16="http://schemas.microsoft.com/office/drawing/2014/main" id="{BBDBFD81-3F25-45C4-931C-C83C44642FA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16410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71" name="Text Placeholder 22">
            <a:extLst>
              <a:ext uri="{FF2B5EF4-FFF2-40B4-BE49-F238E27FC236}">
                <a16:creationId xmlns:a16="http://schemas.microsoft.com/office/drawing/2014/main" id="{8AF38639-9E42-4E6E-B553-2E71FACE72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 rot="19506392">
            <a:off x="4707211" y="2532499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2" name="Text Placeholder 22">
            <a:extLst>
              <a:ext uri="{FF2B5EF4-FFF2-40B4-BE49-F238E27FC236}">
                <a16:creationId xmlns:a16="http://schemas.microsoft.com/office/drawing/2014/main" id="{79D5FF8B-3DD9-4FCF-BC25-11B5B708C5C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 rot="2116930">
            <a:off x="5943838" y="252371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3" name="Text Placeholder 22">
            <a:extLst>
              <a:ext uri="{FF2B5EF4-FFF2-40B4-BE49-F238E27FC236}">
                <a16:creationId xmlns:a16="http://schemas.microsoft.com/office/drawing/2014/main" id="{D62B37A5-61DE-4BC5-AC73-372745F00D3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 rot="5400000">
            <a:off x="6525291" y="3822312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4" name="Text Placeholder 22">
            <a:extLst>
              <a:ext uri="{FF2B5EF4-FFF2-40B4-BE49-F238E27FC236}">
                <a16:creationId xmlns:a16="http://schemas.microsoft.com/office/drawing/2014/main" id="{BF3E3C32-F259-4D5B-A786-01B702121B05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 rot="19561147">
            <a:off x="5958993" y="510039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>
            <a:extLst>
              <a:ext uri="{FF2B5EF4-FFF2-40B4-BE49-F238E27FC236}">
                <a16:creationId xmlns:a16="http://schemas.microsoft.com/office/drawing/2014/main" id="{C177F396-C670-417E-A13A-5F5DC906BB47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 rot="2089401">
            <a:off x="4714637" y="5104414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6" name="Text Placeholder 22">
            <a:extLst>
              <a:ext uri="{FF2B5EF4-FFF2-40B4-BE49-F238E27FC236}">
                <a16:creationId xmlns:a16="http://schemas.microsoft.com/office/drawing/2014/main" id="{4B383110-BE85-43CD-BC20-B568C760864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 rot="16200000">
            <a:off x="4110812" y="3845473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1272E3C2-33B0-42F0-98CB-8C8C243BF37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6052DF19-9D96-4A54-8FA3-46C146C0B5F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F5943707-01DA-43C9-BA1F-E7EE0E7D235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2" name="Footer Placeholder 3">
            <a:extLst>
              <a:ext uri="{FF2B5EF4-FFF2-40B4-BE49-F238E27FC236}">
                <a16:creationId xmlns:a16="http://schemas.microsoft.com/office/drawing/2014/main" id="{70C02C76-34C0-477D-9B7A-973364A4E2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5A932B5-1139-4503-A7E7-6CD9AAADD06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64936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hombus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D731281-34B6-477C-8891-B04CE72827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E4203-08E6-4418-AD09-B8D9334C0A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109" name="Text Placeholder 22">
            <a:extLst>
              <a:ext uri="{FF2B5EF4-FFF2-40B4-BE49-F238E27FC236}">
                <a16:creationId xmlns:a16="http://schemas.microsoft.com/office/drawing/2014/main" id="{FBCEB81F-942E-4E7A-BE5F-A71E6B6C7C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531667">
            <a:off x="6418611" y="429946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4" name="Text Placeholder 22">
            <a:extLst>
              <a:ext uri="{FF2B5EF4-FFF2-40B4-BE49-F238E27FC236}">
                <a16:creationId xmlns:a16="http://schemas.microsoft.com/office/drawing/2014/main" id="{5739B760-04F1-4E96-9625-86162A2402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2012338">
            <a:off x="4209576" y="426907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7" name="Text Placeholder 22">
            <a:extLst>
              <a:ext uri="{FF2B5EF4-FFF2-40B4-BE49-F238E27FC236}">
                <a16:creationId xmlns:a16="http://schemas.microsoft.com/office/drawing/2014/main" id="{474ED7E6-58E4-4601-9048-F4C3A2B3CC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2090804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62163FF3-A63D-42A2-B8D8-9D1C745B0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9584229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F03B141-FBCC-436D-AD9E-F8C15119CD63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0AE0952-39FD-4454-AAE2-8F8D4080584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166203CE-87B2-4997-9914-45C7469F3E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F824F2-B806-4A94-975B-1090A135866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6102396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C2918B75-A044-442E-B62C-FF384773B1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6B5300-F1CB-4EEB-8CC9-08A24B4A917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88657" y="2232878"/>
            <a:ext cx="1944000" cy="18720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E8187A81-DCD4-420F-A0D8-52FE345F75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7E4039A-915B-41DC-A4D1-8E2D00283E4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5BD438B-55CB-42C1-B923-77D8B42E690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D0E62E42-E5B5-4D67-854C-182B2B1B94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E9E16FD-31D4-403C-98C8-58ACE1EB9DC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614C4F9-57DD-410E-BC94-BCE40DDA85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81219" y="2232878"/>
            <a:ext cx="1944000" cy="1872000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97A3EC-F218-4325-BAC9-F15E16EFBD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88657" y="4246307"/>
            <a:ext cx="1944000" cy="187200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F840943-A169-4345-A64D-496EA67778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1219" y="4246307"/>
            <a:ext cx="1944000" cy="187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372943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 Boxe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0836554B-499B-4D39-9F38-475CE40E62E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C340F2F0-C5F1-4AB4-8DA4-3433AB32CA09}"/>
              </a:ext>
            </a:extLst>
          </p:cNvPr>
          <p:cNvSpPr/>
          <p:nvPr/>
        </p:nvSpPr>
        <p:spPr>
          <a:xfrm>
            <a:off x="442800" y="3969892"/>
            <a:ext cx="2592000" cy="214621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FED55F9B-215F-46F1-8BF2-58FAE022CE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799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8" name="Picture Placeholder 2">
            <a:extLst>
              <a:ext uri="{FF2B5EF4-FFF2-40B4-BE49-F238E27FC236}">
                <a16:creationId xmlns:a16="http://schemas.microsoft.com/office/drawing/2014/main" id="{E10A83AB-065A-479D-832E-DAF6AA362A5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45617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9ED5828F-8F6F-4738-BC10-43B225486D5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40364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E738D5B4-41AD-47FF-B2C3-F953D2665B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51252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63F5F59-A06F-4A43-B481-AC3D078E4175}"/>
              </a:ext>
            </a:extLst>
          </p:cNvPr>
          <p:cNvCxnSpPr>
            <a:cxnSpLocks/>
          </p:cNvCxnSpPr>
          <p:nvPr/>
        </p:nvCxnSpPr>
        <p:spPr>
          <a:xfrm>
            <a:off x="595799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">
            <a:extLst>
              <a:ext uri="{FF2B5EF4-FFF2-40B4-BE49-F238E27FC236}">
                <a16:creationId xmlns:a16="http://schemas.microsoft.com/office/drawing/2014/main" id="{880895D5-6A9D-45D9-84A5-B48C071F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17A71A41-DCC6-44B5-8D6D-901E7A96F64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B7ADF330-AE85-40DE-835E-B49449314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17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D17ECCBE-9451-4EF2-9377-41ED7F99F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9173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3BA6191-995D-4A8B-8097-1BCD8EA9E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2E4D74C-410E-483B-833E-4D7AE804ABE2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883744C2-8338-4510-922E-8171C1DBABC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42B4048-3937-457B-8213-80A2A3628E05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5" name="Footer Placeholder 3">
            <a:extLst>
              <a:ext uri="{FF2B5EF4-FFF2-40B4-BE49-F238E27FC236}">
                <a16:creationId xmlns:a16="http://schemas.microsoft.com/office/drawing/2014/main" id="{D9EBCE9F-1CDE-44DC-9CF1-533B6C4977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D7BBE5E-1B61-4CA3-801A-918DA43350A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AD6BED7-E2E8-48E7-B6C3-3D790921CE02}"/>
              </a:ext>
            </a:extLst>
          </p:cNvPr>
          <p:cNvSpPr/>
          <p:nvPr userDrawn="1"/>
        </p:nvSpPr>
        <p:spPr>
          <a:xfrm>
            <a:off x="3341581" y="3969892"/>
            <a:ext cx="2592000" cy="214621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48163F1-E4CF-4E7D-A5AC-7F557B9F9888}"/>
              </a:ext>
            </a:extLst>
          </p:cNvPr>
          <p:cNvCxnSpPr>
            <a:cxnSpLocks/>
          </p:cNvCxnSpPr>
          <p:nvPr userDrawn="1"/>
        </p:nvCxnSpPr>
        <p:spPr>
          <a:xfrm>
            <a:off x="349305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D4DD34B9-07B3-45D6-A5BF-05306FFE4D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9305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445A936B-6A9C-4882-8BF5-60F2E1365B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7642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818D70A-6530-4BDD-B6BD-0AF00ED04C6D}"/>
              </a:ext>
            </a:extLst>
          </p:cNvPr>
          <p:cNvSpPr/>
          <p:nvPr userDrawn="1"/>
        </p:nvSpPr>
        <p:spPr>
          <a:xfrm>
            <a:off x="6240362" y="3969892"/>
            <a:ext cx="2592000" cy="214621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3D0D619-ECCB-4AFE-A59F-858FA4BFBE68}"/>
              </a:ext>
            </a:extLst>
          </p:cNvPr>
          <p:cNvCxnSpPr>
            <a:cxnSpLocks/>
          </p:cNvCxnSpPr>
          <p:nvPr userDrawn="1"/>
        </p:nvCxnSpPr>
        <p:spPr>
          <a:xfrm>
            <a:off x="639336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2">
            <a:extLst>
              <a:ext uri="{FF2B5EF4-FFF2-40B4-BE49-F238E27FC236}">
                <a16:creationId xmlns:a16="http://schemas.microsoft.com/office/drawing/2014/main" id="{F1F9C027-3BB0-4222-86AF-4FB620642C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9336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1" name="Text Placeholder 22">
            <a:extLst>
              <a:ext uri="{FF2B5EF4-FFF2-40B4-BE49-F238E27FC236}">
                <a16:creationId xmlns:a16="http://schemas.microsoft.com/office/drawing/2014/main" id="{13334C41-9D92-43F9-9466-EC60629C93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673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7251D0E-07EF-48AE-B28B-8B7FE9960262}"/>
              </a:ext>
            </a:extLst>
          </p:cNvPr>
          <p:cNvSpPr/>
          <p:nvPr userDrawn="1"/>
        </p:nvSpPr>
        <p:spPr>
          <a:xfrm>
            <a:off x="9139143" y="3969892"/>
            <a:ext cx="2592000" cy="214621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E8C4562-237D-43E7-9629-0C9E2F6F24A4}"/>
              </a:ext>
            </a:extLst>
          </p:cNvPr>
          <p:cNvCxnSpPr>
            <a:cxnSpLocks/>
          </p:cNvCxnSpPr>
          <p:nvPr userDrawn="1"/>
        </p:nvCxnSpPr>
        <p:spPr>
          <a:xfrm>
            <a:off x="929214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2">
            <a:extLst>
              <a:ext uri="{FF2B5EF4-FFF2-40B4-BE49-F238E27FC236}">
                <a16:creationId xmlns:a16="http://schemas.microsoft.com/office/drawing/2014/main" id="{181F6102-B745-4818-A0BA-504371F26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7551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2C37B76-7729-4001-A7C4-B08D2F98971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7551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30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>
            <a:extLst>
              <a:ext uri="{FF2B5EF4-FFF2-40B4-BE49-F238E27FC236}">
                <a16:creationId xmlns:a16="http://schemas.microsoft.com/office/drawing/2014/main" id="{D80F8535-1B37-C640-9522-9FFE23DA8F4E}"/>
              </a:ext>
            </a:extLst>
          </p:cNvPr>
          <p:cNvSpPr/>
          <p:nvPr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E0BA6F1B-DB4E-4726-82C8-F69E131B99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4257" y="2540943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95833C23-279C-584E-A024-2A31807A9274}"/>
              </a:ext>
            </a:extLst>
          </p:cNvPr>
          <p:cNvSpPr/>
          <p:nvPr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6F00C93-F8EE-4584-A029-7488D3966167}"/>
              </a:ext>
            </a:extLst>
          </p:cNvPr>
          <p:cNvSpPr/>
          <p:nvPr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CECEFDB-7B1D-4D53-AFB2-2A3E81E50E9C}"/>
              </a:ext>
            </a:extLst>
          </p:cNvPr>
          <p:cNvSpPr/>
          <p:nvPr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997A980-7EC0-453E-ABF1-4DC83EB7C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1239876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4</a:t>
            </a:r>
            <a:endParaRPr lang="en-GB"/>
          </a:p>
        </p:txBody>
      </p:sp>
      <p:sp>
        <p:nvSpPr>
          <p:cNvPr id="20" name="Freeform 23">
            <a:extLst>
              <a:ext uri="{FF2B5EF4-FFF2-40B4-BE49-F238E27FC236}">
                <a16:creationId xmlns:a16="http://schemas.microsoft.com/office/drawing/2014/main" id="{4AACB9C7-803C-4152-82CB-67927F253134}"/>
              </a:ext>
            </a:extLst>
          </p:cNvPr>
          <p:cNvSpPr/>
          <p:nvPr userDrawn="1"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38F6177-211A-49BE-ABB9-97949A54E26E}"/>
              </a:ext>
            </a:extLst>
          </p:cNvPr>
          <p:cNvSpPr/>
          <p:nvPr userDrawn="1"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D7EF89F-2526-415C-BBDF-59E49A45CE8B}"/>
              </a:ext>
            </a:extLst>
          </p:cNvPr>
          <p:cNvSpPr/>
          <p:nvPr userDrawn="1"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480B66D4-A5F5-624A-B6B3-939B1AD7D213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>
                  <a:alpha val="0"/>
                </a:schemeClr>
              </a:gs>
              <a:gs pos="92000">
                <a:schemeClr val="accent1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 21">
            <a:extLst>
              <a:ext uri="{FF2B5EF4-FFF2-40B4-BE49-F238E27FC236}">
                <a16:creationId xmlns:a16="http://schemas.microsoft.com/office/drawing/2014/main" id="{2168F68C-9AED-427E-85F9-E8C1393F181B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Freeform 16">
            <a:extLst>
              <a:ext uri="{FF2B5EF4-FFF2-40B4-BE49-F238E27FC236}">
                <a16:creationId xmlns:a16="http://schemas.microsoft.com/office/drawing/2014/main" id="{B65377BA-7EEE-4F72-8CAE-57BDF7345B46}"/>
              </a:ext>
            </a:extLst>
          </p:cNvPr>
          <p:cNvSpPr/>
          <p:nvPr userDrawn="1"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A764AC80-FAC7-4BD1-B73A-91406AC014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A45E612-A8E3-4C77-9438-EC1BFADA331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2 Copyright Genpact. All Rights Reserved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079725B-1CBE-4221-997B-07640A54E0D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3347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w/ Icon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 userDrawn="1"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0764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6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48473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0764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-29603" y="0"/>
            <a:ext cx="4772841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7E3823-172A-41D7-9615-01B526ADC265}"/>
              </a:ext>
            </a:extLst>
          </p:cNvPr>
          <p:cNvGrpSpPr/>
          <p:nvPr userDrawn="1"/>
        </p:nvGrpSpPr>
        <p:grpSpPr>
          <a:xfrm>
            <a:off x="5348713" y="390296"/>
            <a:ext cx="377904" cy="521508"/>
            <a:chOff x="5302993" y="401719"/>
            <a:chExt cx="377904" cy="521508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09B9F4C-9DEC-4C04-B351-C0AF80F0C2A2}"/>
                </a:ext>
              </a:extLst>
            </p:cNvPr>
            <p:cNvSpPr/>
            <p:nvPr userDrawn="1"/>
          </p:nvSpPr>
          <p:spPr>
            <a:xfrm>
              <a:off x="5302993" y="401719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1F1A1A7D-1BE7-41E8-AC2D-AE6B08947B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58595" y="510073"/>
              <a:ext cx="266700" cy="3048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EE4C06B-38BA-4258-A35B-A740ADC05DF2}"/>
              </a:ext>
            </a:extLst>
          </p:cNvPr>
          <p:cNvGrpSpPr/>
          <p:nvPr userDrawn="1"/>
        </p:nvGrpSpPr>
        <p:grpSpPr>
          <a:xfrm>
            <a:off x="5376422" y="4427669"/>
            <a:ext cx="377904" cy="521508"/>
            <a:chOff x="5302993" y="4340636"/>
            <a:chExt cx="377904" cy="52150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0BBA3B-007E-49C2-B8B9-A965F9165FC7}"/>
                </a:ext>
              </a:extLst>
            </p:cNvPr>
            <p:cNvSpPr/>
            <p:nvPr userDrawn="1"/>
          </p:nvSpPr>
          <p:spPr>
            <a:xfrm>
              <a:off x="5302993" y="434063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C001C4-EE98-4465-8B7B-D8A818ED69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367950" y="4472435"/>
              <a:ext cx="247990" cy="25791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F5648FF-6840-4E1E-B545-5ECC7A2C57F2}"/>
              </a:ext>
            </a:extLst>
          </p:cNvPr>
          <p:cNvGrpSpPr/>
          <p:nvPr userDrawn="1"/>
        </p:nvGrpSpPr>
        <p:grpSpPr>
          <a:xfrm>
            <a:off x="5348713" y="2408983"/>
            <a:ext cx="377904" cy="521508"/>
            <a:chOff x="5302993" y="2446026"/>
            <a:chExt cx="377904" cy="521508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056E5A-50B8-4FF1-9AD8-E4003692D263}"/>
                </a:ext>
              </a:extLst>
            </p:cNvPr>
            <p:cNvSpPr/>
            <p:nvPr userDrawn="1"/>
          </p:nvSpPr>
          <p:spPr>
            <a:xfrm>
              <a:off x="5302993" y="244602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6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9936D8-E816-4D48-9BE0-BF3EFC24B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379372" y="2567719"/>
              <a:ext cx="225147" cy="278123"/>
            </a:xfrm>
            <a:prstGeom prst="rect">
              <a:avLst/>
            </a:prstGeom>
          </p:spPr>
        </p:pic>
      </p:grp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789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5F519C3B-7679-44F1-B6BE-2792888A5E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0" y="0"/>
            <a:ext cx="4772841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D7DA9FC-4A8A-474C-A470-0A89FD6D3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160" y="2408983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6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7082A0-E26A-4C9D-84EC-E66A1C56E1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8869" y="4427669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06B4988-6484-41EF-A3B1-D23D8B5E83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1160" y="390296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296306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D2F9448-0442-4289-9A73-5E06016513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E1BFC2F-99FE-45E8-9D6F-546CAB2241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EECBC3-0434-4E5B-80EB-F18E5858D660}"/>
              </a:ext>
            </a:extLst>
          </p:cNvPr>
          <p:cNvCxnSpPr>
            <a:cxnSpLocks/>
          </p:cNvCxnSpPr>
          <p:nvPr userDrawn="1"/>
        </p:nvCxnSpPr>
        <p:spPr>
          <a:xfrm>
            <a:off x="442799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34">
            <a:extLst>
              <a:ext uri="{FF2B5EF4-FFF2-40B4-BE49-F238E27FC236}">
                <a16:creationId xmlns:a16="http://schemas.microsoft.com/office/drawing/2014/main" id="{5A1ED52C-F219-40BD-AD78-26E909BD31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2799" y="3565604"/>
            <a:ext cx="2810216" cy="1168340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BECDE2C7-ADDA-481D-93A9-E61494A648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9C7DB8-50DE-4F4D-8D3A-E1B644BEBD0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3" name="Freeform: Shape 38">
            <a:extLst>
              <a:ext uri="{FF2B5EF4-FFF2-40B4-BE49-F238E27FC236}">
                <a16:creationId xmlns:a16="http://schemas.microsoft.com/office/drawing/2014/main" id="{5BEACAC3-A4D3-4A5A-BCBD-6A6FB904BDBC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C2A9049B-2A71-4DF7-A59B-F291023D31D2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29008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2BB801F-CEBA-4CDD-B9F0-EBA65001B1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1013A4B-2C3A-4DE4-AACD-0C2F7C1BFAF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5775" y="10160"/>
            <a:ext cx="12219085" cy="6858000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49724 w 12217364"/>
              <a:gd name="connsiteY0" fmla="*/ 0 h 6891750"/>
              <a:gd name="connsiteX1" fmla="*/ 12206053 w 12217364"/>
              <a:gd name="connsiteY1" fmla="*/ 4343205 h 6891750"/>
              <a:gd name="connsiteX2" fmla="*/ 12217364 w 12217364"/>
              <a:gd name="connsiteY2" fmla="*/ 6891750 h 6891750"/>
              <a:gd name="connsiteX3" fmla="*/ 4074449 w 12217364"/>
              <a:gd name="connsiteY3" fmla="*/ 6877896 h 6891750"/>
              <a:gd name="connsiteX4" fmla="*/ 14054 w 12217364"/>
              <a:gd name="connsiteY4" fmla="*/ 6850187 h 6891750"/>
              <a:gd name="connsiteX5" fmla="*/ 199 w 12217364"/>
              <a:gd name="connsiteY5" fmla="*/ 1516187 h 6891750"/>
              <a:gd name="connsiteX6" fmla="*/ 22741 w 12217364"/>
              <a:gd name="connsiteY6" fmla="*/ 19896 h 6891750"/>
              <a:gd name="connsiteX7" fmla="*/ 5949724 w 12217364"/>
              <a:gd name="connsiteY7" fmla="*/ 0 h 6891750"/>
              <a:gd name="connsiteX0" fmla="*/ 5949936 w 12217576"/>
              <a:gd name="connsiteY0" fmla="*/ 0 h 6891750"/>
              <a:gd name="connsiteX1" fmla="*/ 12206265 w 12217576"/>
              <a:gd name="connsiteY1" fmla="*/ 4343205 h 6891750"/>
              <a:gd name="connsiteX2" fmla="*/ 12217576 w 12217576"/>
              <a:gd name="connsiteY2" fmla="*/ 6891750 h 6891750"/>
              <a:gd name="connsiteX3" fmla="*/ 4074661 w 12217576"/>
              <a:gd name="connsiteY3" fmla="*/ 6877896 h 6891750"/>
              <a:gd name="connsiteX4" fmla="*/ 14266 w 12217576"/>
              <a:gd name="connsiteY4" fmla="*/ 6850187 h 6891750"/>
              <a:gd name="connsiteX5" fmla="*/ 411 w 12217576"/>
              <a:gd name="connsiteY5" fmla="*/ 1516187 h 6891750"/>
              <a:gd name="connsiteX6" fmla="*/ 7455 w 12217576"/>
              <a:gd name="connsiteY6" fmla="*/ 19896 h 6891750"/>
              <a:gd name="connsiteX7" fmla="*/ 5949936 w 12217576"/>
              <a:gd name="connsiteY7" fmla="*/ 0 h 6891750"/>
              <a:gd name="connsiteX0" fmla="*/ 5951445 w 12219085"/>
              <a:gd name="connsiteY0" fmla="*/ 0 h 6891750"/>
              <a:gd name="connsiteX1" fmla="*/ 12207774 w 12219085"/>
              <a:gd name="connsiteY1" fmla="*/ 4343205 h 6891750"/>
              <a:gd name="connsiteX2" fmla="*/ 12219085 w 12219085"/>
              <a:gd name="connsiteY2" fmla="*/ 6891750 h 6891750"/>
              <a:gd name="connsiteX3" fmla="*/ 4076170 w 12219085"/>
              <a:gd name="connsiteY3" fmla="*/ 6877896 h 6891750"/>
              <a:gd name="connsiteX4" fmla="*/ 1261 w 12219085"/>
              <a:gd name="connsiteY4" fmla="*/ 6879216 h 6891750"/>
              <a:gd name="connsiteX5" fmla="*/ 1920 w 12219085"/>
              <a:gd name="connsiteY5" fmla="*/ 1516187 h 6891750"/>
              <a:gd name="connsiteX6" fmla="*/ 8964 w 12219085"/>
              <a:gd name="connsiteY6" fmla="*/ 19896 h 6891750"/>
              <a:gd name="connsiteX7" fmla="*/ 5951445 w 12219085"/>
              <a:gd name="connsiteY7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9085" h="6891750">
                <a:moveTo>
                  <a:pt x="5951445" y="0"/>
                </a:moveTo>
                <a:lnTo>
                  <a:pt x="12207774" y="4343205"/>
                </a:lnTo>
                <a:cubicBezTo>
                  <a:pt x="12211544" y="5192720"/>
                  <a:pt x="12215315" y="6042235"/>
                  <a:pt x="12219085" y="6891750"/>
                </a:cubicBezTo>
                <a:lnTo>
                  <a:pt x="4076170" y="6877896"/>
                </a:lnTo>
                <a:lnTo>
                  <a:pt x="1261" y="6879216"/>
                </a:lnTo>
                <a:cubicBezTo>
                  <a:pt x="-3357" y="5110452"/>
                  <a:pt x="6538" y="3284951"/>
                  <a:pt x="1920" y="1516187"/>
                </a:cubicBezTo>
                <a:cubicBezTo>
                  <a:pt x="-898" y="1001925"/>
                  <a:pt x="11782" y="518660"/>
                  <a:pt x="8964" y="19896"/>
                </a:cubicBezTo>
                <a:lnTo>
                  <a:pt x="595144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FDCD53E-B970-474F-A296-7F5D3D3670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596681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4D0EB71-A2B4-47F8-A43C-B44A52DA54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rgbClr val="798399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96BF9C-3A9B-4F3E-9F61-1D941B653E9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CD4190-9BC7-4476-AF83-E6D1A2BFB31D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84BD3FC-E6DB-474F-B265-92A120F91168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4132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5AB1DB6-D127-4F7D-B30A-D354F9CD8F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5F0F5E84-3D08-463C-A2F4-3F622F79D6AE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635DDF-EA99-074A-B8AA-6DB89B54130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88272" y="1212712"/>
            <a:ext cx="8103729" cy="5645288"/>
          </a:xfrm>
          <a:custGeom>
            <a:avLst/>
            <a:gdLst>
              <a:gd name="connsiteX0" fmla="*/ 8103729 w 8103729"/>
              <a:gd name="connsiteY0" fmla="*/ 0 h 5645288"/>
              <a:gd name="connsiteX1" fmla="*/ 8103729 w 8103729"/>
              <a:gd name="connsiteY1" fmla="*/ 4023746 h 5645288"/>
              <a:gd name="connsiteX2" fmla="*/ 5764894 w 8103729"/>
              <a:gd name="connsiteY2" fmla="*/ 5645288 h 5645288"/>
              <a:gd name="connsiteX3" fmla="*/ 0 w 8103729"/>
              <a:gd name="connsiteY3" fmla="*/ 5645288 h 5645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03729" h="5645288">
                <a:moveTo>
                  <a:pt x="8103729" y="0"/>
                </a:moveTo>
                <a:lnTo>
                  <a:pt x="8103729" y="4023746"/>
                </a:lnTo>
                <a:lnTo>
                  <a:pt x="5764894" y="5645288"/>
                </a:lnTo>
                <a:lnTo>
                  <a:pt x="0" y="564528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8871D4E-8962-41E4-B7BC-D6881361F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AB3759-2ABA-419B-8B4A-9D837809ED6D}"/>
              </a:ext>
            </a:extLst>
          </p:cNvPr>
          <p:cNvCxnSpPr/>
          <p:nvPr userDrawn="1"/>
        </p:nvCxnSpPr>
        <p:spPr>
          <a:xfrm>
            <a:off x="442800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34">
            <a:extLst>
              <a:ext uri="{FF2B5EF4-FFF2-40B4-BE49-F238E27FC236}">
                <a16:creationId xmlns:a16="http://schemas.microsoft.com/office/drawing/2014/main" id="{60D24665-7834-4CC0-8EA5-C724896E98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2800" y="3565604"/>
            <a:ext cx="2810216" cy="1168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2A88DD9-1E9D-4979-91FB-355894EC6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D8CA00-0351-4439-80FC-0A747C09242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D7F1981D-B15C-4509-BD6A-04D49D3FAFB5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20">
            <a:extLst>
              <a:ext uri="{FF2B5EF4-FFF2-40B4-BE49-F238E27FC236}">
                <a16:creationId xmlns:a16="http://schemas.microsoft.com/office/drawing/2014/main" id="{3F6CD97A-AEFF-4042-B3F6-70888095713D}"/>
              </a:ext>
            </a:extLst>
          </p:cNvPr>
          <p:cNvSpPr/>
          <p:nvPr userDrawn="1"/>
        </p:nvSpPr>
        <p:spPr>
          <a:xfrm flipH="1">
            <a:off x="8774596" y="4407877"/>
            <a:ext cx="3417404" cy="2450123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119338 w 4913588"/>
              <a:gd name="connsiteY3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119338 w 4913588"/>
              <a:gd name="connsiteY4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2404721 w 4913588"/>
              <a:gd name="connsiteY4" fmla="*/ 2201134 h 2209800"/>
              <a:gd name="connsiteX5" fmla="*/ 119338 w 4913588"/>
              <a:gd name="connsiteY5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2404721 w 4913588"/>
              <a:gd name="connsiteY3" fmla="*/ 398631 h 2209800"/>
              <a:gd name="connsiteX4" fmla="*/ 4913588 w 4913588"/>
              <a:gd name="connsiteY4" fmla="*/ 2209800 h 2209800"/>
              <a:gd name="connsiteX5" fmla="*/ 2404721 w 4913588"/>
              <a:gd name="connsiteY5" fmla="*/ 2201134 h 2209800"/>
              <a:gd name="connsiteX6" fmla="*/ 2404721 w 4913588"/>
              <a:gd name="connsiteY6" fmla="*/ 2201134 h 2209800"/>
              <a:gd name="connsiteX7" fmla="*/ 119338 w 4913588"/>
              <a:gd name="connsiteY7" fmla="*/ 2209800 h 2209800"/>
              <a:gd name="connsiteX0" fmla="*/ 4 w 4794254"/>
              <a:gd name="connsiteY0" fmla="*/ 1811169 h 1811169"/>
              <a:gd name="connsiteX1" fmla="*/ 2268056 w 4794254"/>
              <a:gd name="connsiteY1" fmla="*/ 0 h 1811169"/>
              <a:gd name="connsiteX2" fmla="*/ 2285387 w 4794254"/>
              <a:gd name="connsiteY2" fmla="*/ 0 h 1811169"/>
              <a:gd name="connsiteX3" fmla="*/ 4794254 w 4794254"/>
              <a:gd name="connsiteY3" fmla="*/ 1811169 h 1811169"/>
              <a:gd name="connsiteX4" fmla="*/ 2285387 w 4794254"/>
              <a:gd name="connsiteY4" fmla="*/ 1802503 h 1811169"/>
              <a:gd name="connsiteX5" fmla="*/ 2285387 w 4794254"/>
              <a:gd name="connsiteY5" fmla="*/ 1802503 h 1811169"/>
              <a:gd name="connsiteX6" fmla="*/ 4 w 4794254"/>
              <a:gd name="connsiteY6" fmla="*/ 1811169 h 1811169"/>
              <a:gd name="connsiteX0" fmla="*/ 17331 w 2526198"/>
              <a:gd name="connsiteY0" fmla="*/ 1802503 h 1811169"/>
              <a:gd name="connsiteX1" fmla="*/ 0 w 2526198"/>
              <a:gd name="connsiteY1" fmla="*/ 0 h 1811169"/>
              <a:gd name="connsiteX2" fmla="*/ 17331 w 2526198"/>
              <a:gd name="connsiteY2" fmla="*/ 0 h 1811169"/>
              <a:gd name="connsiteX3" fmla="*/ 2526198 w 2526198"/>
              <a:gd name="connsiteY3" fmla="*/ 1811169 h 1811169"/>
              <a:gd name="connsiteX4" fmla="*/ 17331 w 2526198"/>
              <a:gd name="connsiteY4" fmla="*/ 1802503 h 1811169"/>
              <a:gd name="connsiteX5" fmla="*/ 17331 w 2526198"/>
              <a:gd name="connsiteY5" fmla="*/ 1802503 h 181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6198" h="1811169">
                <a:moveTo>
                  <a:pt x="17331" y="1802503"/>
                </a:moveTo>
                <a:lnTo>
                  <a:pt x="0" y="0"/>
                </a:lnTo>
                <a:lnTo>
                  <a:pt x="17331" y="0"/>
                </a:lnTo>
                <a:lnTo>
                  <a:pt x="2526198" y="1811169"/>
                </a:lnTo>
                <a:lnTo>
                  <a:pt x="17331" y="1802503"/>
                </a:lnTo>
                <a:lnTo>
                  <a:pt x="17331" y="1802503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6343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95938D1-A43B-478A-AAD9-7A2746560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197EE4D-06D9-6D48-B606-48101EB68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4990" y="0"/>
            <a:ext cx="5724910" cy="6858000"/>
          </a:xfrm>
          <a:custGeom>
            <a:avLst/>
            <a:gdLst>
              <a:gd name="connsiteX0" fmla="*/ 3899193 w 5724910"/>
              <a:gd name="connsiteY0" fmla="*/ 0 h 6858000"/>
              <a:gd name="connsiteX1" fmla="*/ 5724910 w 5724910"/>
              <a:gd name="connsiteY1" fmla="*/ 0 h 6858000"/>
              <a:gd name="connsiteX2" fmla="*/ 5724910 w 5724910"/>
              <a:gd name="connsiteY2" fmla="*/ 4117441 h 6858000"/>
              <a:gd name="connsiteX3" fmla="*/ 1757271 w 5724910"/>
              <a:gd name="connsiteY3" fmla="*/ 6858000 h 6858000"/>
              <a:gd name="connsiteX4" fmla="*/ 0 w 5724910"/>
              <a:gd name="connsiteY4" fmla="*/ 6854510 h 6858000"/>
              <a:gd name="connsiteX5" fmla="*/ 10128 w 5724910"/>
              <a:gd name="connsiteY5" fmla="*/ 270433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24910" h="6858000">
                <a:moveTo>
                  <a:pt x="3899193" y="0"/>
                </a:moveTo>
                <a:lnTo>
                  <a:pt x="5724910" y="0"/>
                </a:lnTo>
                <a:lnTo>
                  <a:pt x="5724910" y="4117441"/>
                </a:lnTo>
                <a:lnTo>
                  <a:pt x="1757271" y="6858000"/>
                </a:lnTo>
                <a:lnTo>
                  <a:pt x="0" y="6854510"/>
                </a:lnTo>
                <a:lnTo>
                  <a:pt x="10128" y="270433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90C636B-5A5D-4399-980F-44E3735BC7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2040219"/>
            <a:ext cx="4004632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6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hank you</a:t>
            </a:r>
            <a:endParaRPr lang="en-GB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218638D0-EA79-4658-BBAF-F7CBC3D7A6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42416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8" name="Freeform: Shape 38">
            <a:extLst>
              <a:ext uri="{FF2B5EF4-FFF2-40B4-BE49-F238E27FC236}">
                <a16:creationId xmlns:a16="http://schemas.microsoft.com/office/drawing/2014/main" id="{88DD9336-317D-4740-9853-D4062BAB0838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Freeform: Shape 38">
            <a:extLst>
              <a:ext uri="{FF2B5EF4-FFF2-40B4-BE49-F238E27FC236}">
                <a16:creationId xmlns:a16="http://schemas.microsoft.com/office/drawing/2014/main" id="{98B81505-8EBE-43E4-B7C6-0E608556BE6D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8052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3962B6-595A-4E12-A0A9-6972DDBE6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1" y="388800"/>
            <a:ext cx="11303999" cy="9900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EB6CFD-A46F-4D8C-9DC4-9F9723DA0E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30104F-10D5-4E69-8AD4-DB626BE7DA1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4D6728C-E3C6-4747-8236-8CE4E25255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000" y="1799999"/>
            <a:ext cx="11303999" cy="432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empower - DO NOT DELETE!!!" hidden="1">
            <a:extLst>
              <a:ext uri="{FF2B5EF4-FFF2-40B4-BE49-F238E27FC236}">
                <a16:creationId xmlns:a16="http://schemas.microsoft.com/office/drawing/2014/main" id="{F8138B8F-DC43-4331-9714-179CEC0AB132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858583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1" r:id="rId1"/>
    <p:sldLayoutId id="2147484372" r:id="rId2"/>
    <p:sldLayoutId id="2147484113" r:id="rId3"/>
    <p:sldLayoutId id="2147484114" r:id="rId4"/>
    <p:sldLayoutId id="2147484112" r:id="rId5"/>
    <p:sldLayoutId id="2147484373" r:id="rId6"/>
    <p:sldLayoutId id="2147484375" r:id="rId7"/>
    <p:sldLayoutId id="2147484376" r:id="rId8"/>
    <p:sldLayoutId id="2147484377" r:id="rId9"/>
    <p:sldLayoutId id="2147484115" r:id="rId10"/>
    <p:sldLayoutId id="2147484378" r:id="rId11"/>
    <p:sldLayoutId id="2147484381" r:id="rId12"/>
    <p:sldLayoutId id="2147484119" r:id="rId13"/>
    <p:sldLayoutId id="2147484409" r:id="rId14"/>
    <p:sldLayoutId id="2147484118" r:id="rId15"/>
    <p:sldLayoutId id="2147484361" r:id="rId16"/>
    <p:sldLayoutId id="2147484410" r:id="rId17"/>
    <p:sldLayoutId id="2147484127" r:id="rId18"/>
    <p:sldLayoutId id="2147484120" r:id="rId19"/>
    <p:sldLayoutId id="2147484121" r:id="rId20"/>
    <p:sldLayoutId id="2147484360" r:id="rId21"/>
    <p:sldLayoutId id="2147484457" r:id="rId22"/>
    <p:sldLayoutId id="2147484402" r:id="rId23"/>
    <p:sldLayoutId id="2147484122" r:id="rId24"/>
    <p:sldLayoutId id="2147484408" r:id="rId25"/>
    <p:sldLayoutId id="2147484128" r:id="rId26"/>
    <p:sldLayoutId id="2147484129" r:id="rId27"/>
    <p:sldLayoutId id="2147484369" r:id="rId28"/>
    <p:sldLayoutId id="2147484366" r:id="rId29"/>
    <p:sldLayoutId id="2147484367" r:id="rId30"/>
    <p:sldLayoutId id="2147484365" r:id="rId31"/>
    <p:sldLayoutId id="2147484126" r:id="rId32"/>
    <p:sldLayoutId id="2147484382" r:id="rId33"/>
    <p:sldLayoutId id="2147484407" r:id="rId34"/>
    <p:sldLayoutId id="2147484383" r:id="rId35"/>
    <p:sldLayoutId id="2147484384" r:id="rId36"/>
    <p:sldLayoutId id="2147484385" r:id="rId37"/>
    <p:sldLayoutId id="2147484386" r:id="rId38"/>
    <p:sldLayoutId id="2147484123" r:id="rId39"/>
    <p:sldLayoutId id="2147484406" r:id="rId40"/>
    <p:sldLayoutId id="2147484368" r:id="rId41"/>
    <p:sldLayoutId id="2147484133" r:id="rId42"/>
    <p:sldLayoutId id="2147484356" r:id="rId43"/>
    <p:sldLayoutId id="2147484468" r:id="rId44"/>
    <p:sldLayoutId id="2147484380" r:id="rId45"/>
    <p:sldLayoutId id="2147484379" r:id="rId46"/>
    <p:sldLayoutId id="2147484117" r:id="rId47"/>
    <p:sldLayoutId id="2147484116" r:id="rId48"/>
    <p:sldLayoutId id="2147484469" r:id="rId49"/>
    <p:sldLayoutId id="2147484470" r:id="rId50"/>
    <p:sldLayoutId id="2147484471" r:id="rId51"/>
    <p:sldLayoutId id="2147484472" r:id="rId52"/>
    <p:sldLayoutId id="2147484473" r:id="rId53"/>
    <p:sldLayoutId id="2147484474" r:id="rId54"/>
    <p:sldLayoutId id="2147484475" r:id="rId55"/>
    <p:sldLayoutId id="2147484476" r:id="rId56"/>
    <p:sldLayoutId id="2147484477" r:id="rId57"/>
    <p:sldLayoutId id="2147484478" r:id="rId58"/>
    <p:sldLayoutId id="2147484479" r:id="rId59"/>
    <p:sldLayoutId id="2147484480" r:id="rId60"/>
    <p:sldLayoutId id="2147484481" r:id="rId61"/>
    <p:sldLayoutId id="2147484482" r:id="rId62"/>
    <p:sldLayoutId id="2147484483" r:id="rId63"/>
    <p:sldLayoutId id="2147484484" r:id="rId64"/>
    <p:sldLayoutId id="2147484485" r:id="rId65"/>
    <p:sldLayoutId id="2147484486" r:id="rId66"/>
    <p:sldLayoutId id="2147484487" r:id="rId67"/>
    <p:sldLayoutId id="2147484488" r:id="rId68"/>
    <p:sldLayoutId id="2147484489" r:id="rId69"/>
    <p:sldLayoutId id="2147484490" r:id="rId70"/>
    <p:sldLayoutId id="2147484491" r:id="rId71"/>
    <p:sldLayoutId id="2147484492" r:id="rId72"/>
    <p:sldLayoutId id="2147484493" r:id="rId73"/>
    <p:sldLayoutId id="2147484494" r:id="rId74"/>
    <p:sldLayoutId id="2147484495" r:id="rId75"/>
    <p:sldLayoutId id="2147484496" r:id="rId76"/>
    <p:sldLayoutId id="2147484497" r:id="rId77"/>
    <p:sldLayoutId id="2147484498" r:id="rId78"/>
    <p:sldLayoutId id="2147484499" r:id="rId79"/>
    <p:sldLayoutId id="2147484500" r:id="rId80"/>
    <p:sldLayoutId id="2147484501" r:id="rId81"/>
    <p:sldLayoutId id="2147484502" r:id="rId82"/>
    <p:sldLayoutId id="2147484503" r:id="rId83"/>
    <p:sldLayoutId id="2147484504" r:id="rId84"/>
    <p:sldLayoutId id="2147484505" r:id="rId85"/>
    <p:sldLayoutId id="2147484506" r:id="rId86"/>
    <p:sldLayoutId id="2147484507" r:id="rId87"/>
    <p:sldLayoutId id="2147484508" r:id="rId88"/>
    <p:sldLayoutId id="2147484509" r:id="rId89"/>
    <p:sldLayoutId id="2147484510" r:id="rId90"/>
    <p:sldLayoutId id="2147484511" r:id="rId91"/>
    <p:sldLayoutId id="2147484512" r:id="rId92"/>
    <p:sldLayoutId id="2147484513" r:id="rId93"/>
    <p:sldLayoutId id="2147484514" r:id="rId94"/>
    <p:sldLayoutId id="2147484515" r:id="rId95"/>
  </p:sldLayoutIdLst>
  <p:hf sldNum="0" hdr="0" dt="0"/>
  <p:txStyles>
    <p:title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100000"/>
        <a:buFont typeface="Arial" panose="020B0604020202020204" pitchFamily="34" charset="0"/>
        <a:buNone/>
        <a:defRPr lang="en-GB" sz="3200" b="0" kern="1200" dirty="0">
          <a:solidFill>
            <a:schemeClr val="tx2"/>
          </a:solidFill>
          <a:latin typeface="+mj-lt"/>
          <a:ea typeface="Cambria" panose="02040503050406030204" pitchFamily="18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None/>
        <a:defRPr lang="en-US" sz="1400" b="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1pPr>
      <a:lvl2pPr marL="252000" indent="-25200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■"/>
        <a:defRPr lang="en-US" sz="1400" b="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2pPr>
      <a:lvl3pPr marL="504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Clr>
          <a:schemeClr val="accent1"/>
        </a:buClr>
        <a:buSzPct val="80000"/>
        <a:buFont typeface="Arial" panose="020B0604020202020204" pitchFamily="34" charset="0"/>
        <a:buChar char="►"/>
        <a:defRPr lang="en-US" sz="120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3pPr>
      <a:lvl4pPr marL="756000" indent="-252000" algn="l" defTabSz="914400" rtl="0" eaLnBrk="1" latinLnBrk="0" hangingPunct="1">
        <a:lnSpc>
          <a:spcPct val="105000"/>
        </a:lnSpc>
        <a:spcBef>
          <a:spcPts val="3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1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GB" sz="1600" b="1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orient="horz" pos="4088" userDrawn="1">
          <p15:clr>
            <a:srgbClr val="F26B43"/>
          </p15:clr>
        </p15:guide>
        <p15:guide id="11" orient="horz" pos="232" userDrawn="1">
          <p15:clr>
            <a:srgbClr val="F26B43"/>
          </p15:clr>
        </p15:guide>
        <p15:guide id="12" orient="horz" pos="777" userDrawn="1">
          <p15:clr>
            <a:srgbClr val="F26B43"/>
          </p15:clr>
        </p15:guide>
        <p15:guide id="13" orient="horz" pos="913" userDrawn="1">
          <p15:clr>
            <a:srgbClr val="F26B43"/>
          </p15:clr>
        </p15:guide>
        <p15:guide id="14" orient="horz" pos="1117" userDrawn="1">
          <p15:clr>
            <a:srgbClr val="F26B43"/>
          </p15:clr>
        </p15:guide>
        <p15:guide id="15" orient="horz" pos="3861" userDrawn="1">
          <p15:clr>
            <a:srgbClr val="F26B43"/>
          </p15:clr>
        </p15:guide>
        <p15:guide id="16" orient="horz" pos="1412" userDrawn="1">
          <p15:clr>
            <a:srgbClr val="F26B43"/>
          </p15:clr>
        </p15:guide>
        <p15:guide id="17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44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40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40.png"/><Relationship Id="rId4" Type="http://schemas.openxmlformats.org/officeDocument/2006/relationships/notesSlide" Target="../notesSlides/notesSlide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42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41.pn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3" Type="http://schemas.openxmlformats.org/officeDocument/2006/relationships/tags" Target="../tags/tag58.xml"/><Relationship Id="rId7" Type="http://schemas.openxmlformats.org/officeDocument/2006/relationships/notesSlide" Target="../notesSlides/notesSlide8.xml"/><Relationship Id="rId12" Type="http://schemas.openxmlformats.org/officeDocument/2006/relationships/image" Target="../media/image47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46.png"/><Relationship Id="rId5" Type="http://schemas.openxmlformats.org/officeDocument/2006/relationships/tags" Target="../tags/tag60.xml"/><Relationship Id="rId10" Type="http://schemas.openxmlformats.org/officeDocument/2006/relationships/image" Target="../media/image45.png"/><Relationship Id="rId4" Type="http://schemas.openxmlformats.org/officeDocument/2006/relationships/tags" Target="../tags/tag59.xml"/><Relationship Id="rId9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5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hyperlink" Target="https://www.quoteinspector.com/images/investing/buy-sell-stocks/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5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5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Kostenlose foto : die Architektur, Gebäude, Stadt, Stadtbild, Wolken ...">
            <a:extLst>
              <a:ext uri="{FF2B5EF4-FFF2-40B4-BE49-F238E27FC236}">
                <a16:creationId xmlns:a16="http://schemas.microsoft.com/office/drawing/2014/main" id="{468EB8A0-11F3-A6B1-8F29-4624424DFE4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/>
          <a:srcRect t="7808" b="7808"/>
          <a:stretch/>
        </p:blipFill>
        <p:spPr>
          <a:xfrm>
            <a:off x="-717" y="1563"/>
            <a:ext cx="12164614" cy="6843300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95376D-F135-FE76-03D0-5DA3EEA8C1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3386" y="1337005"/>
            <a:ext cx="6443999" cy="381000"/>
          </a:xfrm>
        </p:spPr>
        <p:txBody>
          <a:bodyPr/>
          <a:lstStyle/>
          <a:p>
            <a:r>
              <a:rPr lang="en-US">
                <a:ea typeface="Cambria"/>
              </a:rPr>
              <a:t>Date: 27/08/2024</a:t>
            </a:r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7FFD62A-D4A6-B7C9-B3E6-73B56009A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207" y="3929760"/>
            <a:ext cx="5051836" cy="2105785"/>
          </a:xfrm>
        </p:spPr>
        <p:txBody>
          <a:bodyPr/>
          <a:lstStyle/>
          <a:p>
            <a:r>
              <a:rPr lang="en-US">
                <a:latin typeface="Baskerville Old Face"/>
                <a:ea typeface="Microsoft Sans Serif"/>
                <a:cs typeface="Microsoft Sans Serif"/>
              </a:rPr>
              <a:t>CHIME – </a:t>
            </a:r>
            <a:br>
              <a:rPr lang="en-US">
                <a:latin typeface="Baskerville Old Face"/>
                <a:ea typeface="Microsoft Sans Serif"/>
                <a:cs typeface="Microsoft Sans Serif"/>
              </a:rPr>
            </a:br>
            <a:r>
              <a:rPr lang="en-US">
                <a:latin typeface="Baskerville Old Face"/>
                <a:ea typeface="Microsoft Sans Serif"/>
                <a:cs typeface="Microsoft Sans Serif"/>
              </a:rPr>
              <a:t>POC on </a:t>
            </a:r>
            <a:br>
              <a:rPr lang="en-US">
                <a:latin typeface="Baskerville Old Face"/>
                <a:ea typeface="Microsoft Sans Serif"/>
                <a:cs typeface="Microsoft Sans Serif"/>
              </a:rPr>
            </a:br>
            <a:r>
              <a:rPr lang="en-US">
                <a:latin typeface="Baskerville Old Face"/>
                <a:ea typeface="Microsoft Sans Serif"/>
                <a:cs typeface="Microsoft Sans Serif"/>
              </a:rPr>
              <a:t>Dispute Management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AC9776-90AF-6AD4-A395-8BD356DDA34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2D48E12-4A43-CF88-47ED-57DF493CDE8F}"/>
              </a:ext>
            </a:extLst>
          </p:cNvPr>
          <p:cNvSpPr txBox="1"/>
          <p:nvPr/>
        </p:nvSpPr>
        <p:spPr>
          <a:xfrm>
            <a:off x="0" y="6845300"/>
            <a:ext cx="12163425" cy="317500"/>
          </a:xfrm>
          <a:prstGeom prst="rect">
            <a:avLst/>
          </a:prstGeom>
        </p:spPr>
        <p:txBody>
          <a:bodyPr>
            <a:normAutofit fontScale="92500" lnSpcReduction="20000"/>
          </a:bodyPr>
          <a:lstStyle/>
          <a:p>
            <a:r>
              <a:rPr lang="en-US"/>
              <a:t>ThePhoto by PhotoAuthor is licensed under CCYYSA.</a:t>
            </a:r>
          </a:p>
        </p:txBody>
      </p:sp>
    </p:spTree>
    <p:extLst>
      <p:ext uri="{BB962C8B-B14F-4D97-AF65-F5344CB8AC3E}">
        <p14:creationId xmlns:p14="http://schemas.microsoft.com/office/powerpoint/2010/main" val="21619573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A2F35E3-77CD-474C-AE76-FEE64E2C342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en-GB" dirty="0">
                <a:solidFill>
                  <a:schemeClr val="accent2">
                    <a:lumMod val="40000"/>
                    <a:lumOff val="60000"/>
                  </a:schemeClr>
                </a:solidFill>
                <a:ea typeface="Cambria"/>
                <a:cs typeface="Calibri"/>
              </a:rPr>
              <a:t>Visualization</a:t>
            </a:r>
            <a:endParaRPr lang="en-US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C65355C-8779-44F4-A239-5206EA4D198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327895" y="4678307"/>
            <a:ext cx="3429000" cy="1810702"/>
          </a:xfrm>
        </p:spPr>
        <p:txBody>
          <a:bodyPr/>
          <a:lstStyle/>
          <a:p>
            <a:pPr marL="285750" indent="-285750">
              <a:buChar char="•"/>
            </a:pPr>
            <a:r>
              <a:rPr lang="en-GB" sz="1400">
                <a:ea typeface="Cambria"/>
                <a:cs typeface="Calibri"/>
              </a:rPr>
              <a:t>Yearly Dispute Count by Members</a:t>
            </a:r>
          </a:p>
          <a:p>
            <a:pPr marL="285750" indent="-285750">
              <a:buChar char="•"/>
            </a:pPr>
            <a:r>
              <a:rPr lang="en-GB" sz="1400">
                <a:ea typeface="Cambria"/>
                <a:cs typeface="Calibri"/>
              </a:rPr>
              <a:t>Risk Analysis based on Dispute Count</a:t>
            </a:r>
            <a:endParaRPr lang="en-GB" sz="1400"/>
          </a:p>
          <a:p>
            <a:pPr marL="285750" indent="-285750">
              <a:buChar char="•"/>
            </a:pPr>
            <a:r>
              <a:rPr lang="en-GB" sz="1400">
                <a:ea typeface="Cambria"/>
                <a:cs typeface="Calibri"/>
              </a:rPr>
              <a:t>Dispute Status</a:t>
            </a:r>
            <a:endParaRPr lang="en-GB" sz="1400"/>
          </a:p>
          <a:p>
            <a:pPr marL="285750" indent="-285750">
              <a:buChar char="•"/>
            </a:pPr>
            <a:r>
              <a:rPr lang="en-GB" sz="1400">
                <a:ea typeface="Cambria"/>
                <a:cs typeface="Calibri"/>
              </a:rPr>
              <a:t>Common dispute reasons</a:t>
            </a:r>
            <a:endParaRPr lang="en-GB" sz="140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E04A637-EB4E-4317-B7C3-28C91BAD2B0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442799" y="3937388"/>
            <a:ext cx="3429000" cy="304801"/>
          </a:xfrm>
        </p:spPr>
        <p:txBody>
          <a:bodyPr/>
          <a:lstStyle/>
          <a:p>
            <a:r>
              <a:rPr lang="en-GB">
                <a:ea typeface="Cambria"/>
                <a:cs typeface="Calibri"/>
              </a:rPr>
              <a:t>Benefits</a:t>
            </a: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FCF0D1A-0173-4DDC-B0ED-0B8AC3CD784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442799" y="4245821"/>
            <a:ext cx="3645243" cy="1440000"/>
          </a:xfrm>
        </p:spPr>
        <p:txBody>
          <a:bodyPr/>
          <a:lstStyle/>
          <a:p>
            <a:pPr marL="285750" indent="-285750">
              <a:buChar char="•"/>
            </a:pPr>
            <a:r>
              <a:rPr lang="en-US" sz="1400">
                <a:latin typeface="Georgia"/>
                <a:ea typeface="Cambria"/>
                <a:cs typeface="Calibri"/>
              </a:rPr>
              <a:t>Enhanced customer experiences by recognizing the common dispute </a:t>
            </a:r>
            <a:r>
              <a:rPr lang="en-US" sz="1400" err="1">
                <a:latin typeface="Georgia"/>
                <a:ea typeface="Cambria"/>
                <a:cs typeface="Calibri"/>
              </a:rPr>
              <a:t>reas</a:t>
            </a:r>
            <a:endParaRPr lang="en-US" sz="1400">
              <a:latin typeface="Georgia"/>
              <a:ea typeface="Cambria"/>
              <a:cs typeface="Calibri"/>
            </a:endParaRPr>
          </a:p>
          <a:p>
            <a:pPr marL="285750" indent="-285750">
              <a:buChar char="•"/>
            </a:pPr>
            <a:r>
              <a:rPr lang="en-US" sz="1400">
                <a:latin typeface="Georgia"/>
                <a:ea typeface="Cambria"/>
                <a:cs typeface="Calibri"/>
              </a:rPr>
              <a:t>Potential fraud detection and taking preventive measures before significant losses.</a:t>
            </a:r>
          </a:p>
          <a:p>
            <a:pPr marL="285750" indent="-285750">
              <a:buChar char="•"/>
            </a:pPr>
            <a:r>
              <a:rPr lang="en-US" sz="1400">
                <a:latin typeface="Georgia"/>
                <a:ea typeface="Cambria"/>
                <a:cs typeface="Calibri"/>
              </a:rPr>
              <a:t>Improved risk management and better decision making to expedite resolution process</a:t>
            </a:r>
            <a:endParaRPr lang="en-US" sz="1400">
              <a:latin typeface="Georgia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0720325-1955-41EB-ABFA-875B694C160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461150" y="2020109"/>
            <a:ext cx="3429000" cy="2073046"/>
          </a:xfrm>
        </p:spPr>
        <p:txBody>
          <a:bodyPr/>
          <a:lstStyle/>
          <a:p>
            <a:pPr marL="285750" indent="-285750">
              <a:buChar char="•"/>
            </a:pPr>
            <a:r>
              <a:rPr lang="en-US" sz="1400">
                <a:latin typeface="Georgia"/>
                <a:ea typeface="Cambria"/>
                <a:cs typeface="Calibri"/>
              </a:rPr>
              <a:t>CUSTOMER_ID</a:t>
            </a:r>
            <a:endParaRPr lang="en-US" sz="1400">
              <a:solidFill>
                <a:srgbClr val="000000"/>
              </a:solidFill>
              <a:latin typeface="Georgia"/>
              <a:ea typeface="Cambria"/>
              <a:cs typeface="Calibri"/>
            </a:endParaRPr>
          </a:p>
          <a:p>
            <a:pPr marL="342900" indent="-342900">
              <a:lnSpc>
                <a:spcPct val="10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Georgia"/>
              </a:rPr>
              <a:t>DISPUTE_ID</a:t>
            </a:r>
            <a:endParaRPr lang="en-US" sz="1400">
              <a:solidFill>
                <a:srgbClr val="000000"/>
              </a:solidFill>
              <a:latin typeface="Georgia"/>
            </a:endParaRPr>
          </a:p>
          <a:p>
            <a:pPr marL="342900" indent="-342900">
              <a:lnSpc>
                <a:spcPct val="10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Georgia"/>
              </a:rPr>
              <a:t>CHARGEBACK_DATE</a:t>
            </a:r>
            <a:endParaRPr lang="en-US" sz="1400">
              <a:solidFill>
                <a:srgbClr val="000000"/>
              </a:solidFill>
              <a:latin typeface="Georgia"/>
            </a:endParaRPr>
          </a:p>
          <a:p>
            <a:pPr marL="342900" indent="-342900">
              <a:lnSpc>
                <a:spcPct val="10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Georgia"/>
              </a:rPr>
              <a:t>DISPUTE_TYPE</a:t>
            </a:r>
            <a:endParaRPr lang="en-US" sz="1400">
              <a:solidFill>
                <a:srgbClr val="000000"/>
              </a:solidFill>
              <a:latin typeface="Georgia"/>
            </a:endParaRPr>
          </a:p>
          <a:p>
            <a:pPr marL="342900" indent="-342900">
              <a:lnSpc>
                <a:spcPct val="10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Georgia"/>
                <a:ea typeface="Cambria"/>
                <a:cs typeface="Calibri"/>
              </a:rPr>
              <a:t>RESOLUTION_TIME</a:t>
            </a:r>
            <a:endParaRPr lang="en-GB" dirty="0">
              <a:ea typeface="Cambria"/>
              <a:cs typeface="Calibri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29C92CA-6A5C-4130-8E93-8B52A0A3DA9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343919" y="1717063"/>
            <a:ext cx="3429000" cy="304801"/>
          </a:xfrm>
        </p:spPr>
        <p:txBody>
          <a:bodyPr/>
          <a:lstStyle/>
          <a:p>
            <a:r>
              <a:rPr lang="en-GB" dirty="0">
                <a:solidFill>
                  <a:schemeClr val="tx2">
                    <a:lumMod val="25000"/>
                    <a:lumOff val="75000"/>
                  </a:schemeClr>
                </a:solidFill>
                <a:ea typeface="Cambria"/>
                <a:cs typeface="Calibri"/>
              </a:rPr>
              <a:t>Parameters </a:t>
            </a:r>
            <a:endParaRPr lang="en-US" dirty="0">
              <a:solidFill>
                <a:schemeClr val="tx2">
                  <a:lumMod val="25000"/>
                  <a:lumOff val="75000"/>
                </a:schemeClr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302A24-CE26-43F0-842A-F9ACB15B939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799" y="2016148"/>
            <a:ext cx="3429000" cy="1862188"/>
          </a:xfrm>
        </p:spPr>
        <p:txBody>
          <a:bodyPr/>
          <a:lstStyle/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GB" sz="1500" dirty="0">
                <a:latin typeface="Arial"/>
                <a:ea typeface="Cambria"/>
                <a:cs typeface="Arial"/>
              </a:rPr>
              <a:t>Data Aggregation to find out number of disputes raised by each member over years</a:t>
            </a:r>
            <a:endParaRPr lang="en-US" sz="1500" dirty="0">
              <a:solidFill>
                <a:srgbClr val="000000"/>
              </a:solidFill>
              <a:latin typeface="Arial"/>
              <a:ea typeface="Cambria"/>
              <a:cs typeface="Arial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GB" sz="1500" dirty="0">
                <a:latin typeface="Arial"/>
                <a:ea typeface="Cambria"/>
                <a:cs typeface="Arial"/>
              </a:rPr>
              <a:t>Using </a:t>
            </a:r>
            <a:r>
              <a:rPr lang="en-GB" sz="1500" b="1" dirty="0">
                <a:latin typeface="Arial"/>
                <a:ea typeface="Cambria"/>
                <a:cs typeface="Arial"/>
              </a:rPr>
              <a:t>Forecast feature of Snowflake ML</a:t>
            </a:r>
            <a:r>
              <a:rPr lang="en-GB" sz="1500" dirty="0">
                <a:latin typeface="Arial"/>
                <a:ea typeface="Cambria"/>
                <a:cs typeface="Arial"/>
              </a:rPr>
              <a:t> on the dispute counts to forecast future disputes 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F0F0FD-6236-43CF-897C-90AEF2B8DC1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1718014"/>
            <a:ext cx="3429000" cy="304801"/>
          </a:xfrm>
        </p:spPr>
        <p:txBody>
          <a:bodyPr/>
          <a:lstStyle/>
          <a:p>
            <a:r>
              <a:rPr lang="en-GB" dirty="0">
                <a:ea typeface="Cambria"/>
                <a:cs typeface="Calibri"/>
              </a:rPr>
              <a:t>Features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6B5F3A-3F08-459B-ADF4-905194ECEE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ea typeface="Cambria"/>
                <a:cs typeface="Calibri"/>
              </a:rPr>
              <a:t>The parameters and features we are using to identify the useful insights as well as risk patterns 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555DC8B-2652-4E9B-B1C7-3B600A15818E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r>
              <a:rPr lang="en-GB"/>
              <a:t>Parameters being used in the process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95868-B112-034F-8B49-33225801A9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</p:spPr>
        <p:txBody>
          <a:bodyPr/>
          <a:lstStyle/>
          <a:p>
            <a:r>
              <a:rPr lang="en-US"/>
              <a:t>© 2023 Copyright Genpact. All Rights Reserved.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C6C7E13-CD0F-4677-B154-D4825BDBEF84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en-GB"/>
              <a:t>Analysis and Forecast</a:t>
            </a:r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CD83B0B-4C4B-4DC1-9FF1-C694A6204340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en-GB"/>
              <a:t>Useful Insights for Business and customer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ABEC3FE-17CB-4521-B665-D599C0FADDB8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en-GB"/>
              <a:t>Dashboard to visualize trend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6814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A9A3A38-8AB3-885B-AC36-A825866152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4821" y="2105701"/>
            <a:ext cx="6620970" cy="2138517"/>
          </a:xfrm>
        </p:spPr>
        <p:txBody>
          <a:bodyPr vert="horz" lIns="0" tIns="0" rIns="0" bIns="0" rtlCol="0" anchor="t">
            <a:noAutofit/>
          </a:bodyPr>
          <a:lstStyle/>
          <a:p>
            <a:pPr>
              <a:defRPr/>
            </a:pPr>
            <a:r>
              <a:rPr lang="en-US" sz="3000">
                <a:latin typeface="Georgia"/>
                <a:ea typeface="Cambria"/>
                <a:cs typeface="Calibri"/>
              </a:rPr>
              <a:t>We developed a tool capable of summarizing the customer statements for dispute along with recommended resolution. </a:t>
            </a:r>
          </a:p>
        </p:txBody>
      </p:sp>
      <p:pic>
        <p:nvPicPr>
          <p:cNvPr id="5" name="Picture 4" descr="City lights focused in magnifying glass">
            <a:extLst>
              <a:ext uri="{FF2B5EF4-FFF2-40B4-BE49-F238E27FC236}">
                <a16:creationId xmlns:a16="http://schemas.microsoft.com/office/drawing/2014/main" id="{3B26CE32-50E5-BB36-1BE6-D0355C75379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2239" b="12239"/>
          <a:stretch/>
        </p:blipFill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noFill/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2D8DC42-767E-CD83-5EC5-47732A6B12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138" y="333549"/>
            <a:ext cx="7365361" cy="1776485"/>
          </a:xfrm>
        </p:spPr>
        <p:txBody>
          <a:bodyPr vert="horz" lIns="0" tIns="0" rIns="0" bIns="0" rtlCol="0" anchor="b" anchorCtr="0">
            <a:norm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</a:pPr>
            <a:r>
              <a:rPr lang="en-US" sz="4800">
                <a:latin typeface="Baskerville Old Face"/>
                <a:ea typeface="Cambria"/>
                <a:cs typeface="Calibri"/>
              </a:rPr>
              <a:t>Automated</a:t>
            </a:r>
            <a:r>
              <a:rPr lang="en-US" sz="4400">
                <a:latin typeface="Baskerville Old Face"/>
                <a:ea typeface="Cambria"/>
                <a:cs typeface="Calibri"/>
              </a:rPr>
              <a:t> </a:t>
            </a:r>
            <a:r>
              <a:rPr lang="en-US" sz="4800">
                <a:latin typeface="Baskerville Old Face"/>
                <a:ea typeface="Cambria"/>
                <a:cs typeface="Calibri"/>
              </a:rPr>
              <a:t>Summarization</a:t>
            </a:r>
            <a:endParaRPr lang="en-US" sz="4800">
              <a:latin typeface="Baskerville Old Face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</a:pPr>
            <a:endParaRPr lang="en-US" sz="4400">
              <a:latin typeface="Baskerville Old Face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28EEA7-67A3-2D80-75F0-7E434753106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714713" y="6480000"/>
            <a:ext cx="2396518" cy="123111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337991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5403794-C34E-5E19-7358-C04D7AA1229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>
                <a:ea typeface="Cambria"/>
                <a:cs typeface="Calibri"/>
              </a:rPr>
              <a:t>PRICING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30E76F-C0AC-AD3D-D622-C373929A8DD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sz="1600">
                <a:ea typeface="Cambria"/>
                <a:cs typeface="Arial"/>
              </a:rPr>
              <a:t>We're calculating the cost of using the LLM functions (SUMMARIZE).</a:t>
            </a:r>
            <a:endParaRPr lang="en-US" sz="1600">
              <a:ea typeface="Cambria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858168-CBB6-2CB5-B290-2410A9471E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PARAMETERS USE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56FA15-88E3-2D2F-7F2E-2B8C0BCC211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sz="1400">
                <a:ea typeface="Cambria"/>
                <a:cs typeface="Arial"/>
              </a:rPr>
              <a:t>DISPUTE_TYPE, PRODUCT_TYPE, STATUS, CUSTOMER_STATEMENT</a:t>
            </a:r>
            <a:endParaRPr lang="en-US" sz="1400">
              <a:ea typeface="Cambria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73454B4-592A-6D4E-2EA7-40410D262ED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>
                <a:ea typeface="Cambria"/>
                <a:cs typeface="Calibri"/>
              </a:rPr>
              <a:t>BENEFITS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771847-B0DD-4F30-AC5E-25DCCB3B42F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71450" indent="-171450">
              <a:buChar char="•"/>
            </a:pPr>
            <a:r>
              <a:rPr lang="en-US">
                <a:cs typeface="Arial"/>
              </a:rPr>
              <a:t>Reduces manual processing time by allowing investigators to focus on resolving issues rather than manually reviewing through extensive statements and documentation.</a:t>
            </a:r>
            <a:endParaRPr lang="en-US"/>
          </a:p>
          <a:p>
            <a:pPr marL="171450" indent="-171450">
              <a:buChar char="•"/>
            </a:pPr>
            <a:r>
              <a:rPr lang="en-US">
                <a:cs typeface="Arial"/>
              </a:rPr>
              <a:t>Summarizes and highlights key issues along with recommended resolution.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8F4C94B-75C6-21F5-681F-27486DD352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>
                <a:ea typeface="Cambria"/>
                <a:cs typeface="Calibri"/>
              </a:rPr>
              <a:t>FEATURES</a:t>
            </a:r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2AFEA35-2636-8EDA-8DA6-DCF38674B0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99" y="722220"/>
            <a:ext cx="11303999" cy="990001"/>
          </a:xfrm>
        </p:spPr>
        <p:txBody>
          <a:bodyPr/>
          <a:lstStyle/>
          <a:p>
            <a:r>
              <a:rPr lang="en-US">
                <a:ea typeface="+mj-lt"/>
                <a:cs typeface="+mj-lt"/>
              </a:rPr>
              <a:t>By employing Auto Summarization tool, we can reduce the manual processing time by highlighting the key issues.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28BE476-D98C-736F-DD12-60236405DD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CE20B7D-5FAE-7A76-EDD8-D9240A8025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400">
                <a:ea typeface="Cambria"/>
                <a:cs typeface="Arial"/>
              </a:rPr>
              <a:t>We're using Snowflake Cortex's SUMMARIZE function to implement summary on Customer statements.</a:t>
            </a:r>
            <a:endParaRPr lang="en-US" sz="1400">
              <a:ea typeface="Cambria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5879B5D-3BEF-DEC3-3690-797E40E0E3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1335321-FDD1-400B-9658-39C9E837B5D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F8920C2-7B7C-856E-2232-12803677D29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DE5C272-DE7F-AC66-C4C2-1F7D8E7F487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257A3A8D-3FB9-D0FA-A013-9C222A5042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63897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AF0A6605-BC54-4C8C-956B-4B88CDF3AE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99" y="2122014"/>
            <a:ext cx="4135319" cy="990000"/>
          </a:xfrm>
        </p:spPr>
        <p:txBody>
          <a:bodyPr/>
          <a:lstStyle/>
          <a:p>
            <a:r>
              <a:rPr lang="en-US"/>
              <a:t>Thank you</a:t>
            </a:r>
          </a:p>
        </p:txBody>
      </p:sp>
      <p:pic>
        <p:nvPicPr>
          <p:cNvPr id="10" name="Picture Placeholder 9" descr="A picture containing road, building, train, track&#10;&#10;Description automatically generated">
            <a:extLst>
              <a:ext uri="{FF2B5EF4-FFF2-40B4-BE49-F238E27FC236}">
                <a16:creationId xmlns:a16="http://schemas.microsoft.com/office/drawing/2014/main" id="{A857BFFD-BACB-413F-9EBF-BF63708F87D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" r="19"/>
          <a:stretch/>
        </p:blipFill>
        <p:spPr>
          <a:xfrm>
            <a:off x="4060396" y="2764868"/>
            <a:ext cx="8131604" cy="4093132"/>
          </a:xfr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E940BD-69DF-F246-A3EA-FC02A5CB39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</p:spPr>
        <p:txBody>
          <a:bodyPr/>
          <a:lstStyle/>
          <a:p>
            <a:r>
              <a:rPr lang="en-US"/>
              <a:t>© 2023 Copyright Genpact. All Rights Reserved.</a:t>
            </a:r>
          </a:p>
        </p:txBody>
      </p:sp>
      <p:sp>
        <p:nvSpPr>
          <p:cNvPr id="7" name="Freeform: Shape 38">
            <a:extLst>
              <a:ext uri="{FF2B5EF4-FFF2-40B4-BE49-F238E27FC236}">
                <a16:creationId xmlns:a16="http://schemas.microsoft.com/office/drawing/2014/main" id="{A448DED7-41BE-48AE-8F39-BA272133C996}"/>
              </a:ext>
            </a:extLst>
          </p:cNvPr>
          <p:cNvSpPr/>
          <p:nvPr/>
        </p:nvSpPr>
        <p:spPr>
          <a:xfrm>
            <a:off x="291421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D24259F-CB01-45E7-AAA6-9E5EECB56B0B}"/>
              </a:ext>
            </a:extLst>
          </p:cNvPr>
          <p:cNvSpPr/>
          <p:nvPr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8778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38">
            <a:extLst>
              <a:ext uri="{FF2B5EF4-FFF2-40B4-BE49-F238E27FC236}">
                <a16:creationId xmlns:a16="http://schemas.microsoft.com/office/drawing/2014/main" id="{3D5FCD74-C1EA-411D-8283-3A811535F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91850"/>
            <a:ext cx="11304587" cy="584775"/>
          </a:xfrm>
        </p:spPr>
        <p:txBody>
          <a:bodyPr>
            <a:spAutoFit/>
          </a:bodyPr>
          <a:lstStyle/>
          <a:p>
            <a:r>
              <a:rPr lang="en-US"/>
              <a:t>Ten tips for better PowerPoint presentation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5F437B4-5585-4AEF-B42B-6B8C51C290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7D1C40-4F91-D442-9B53-318FBDE6A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4188" y="6495304"/>
            <a:ext cx="2396518" cy="123111"/>
          </a:xfrm>
        </p:spPr>
        <p:txBody>
          <a:bodyPr/>
          <a:lstStyle/>
          <a:p>
            <a:r>
              <a:rPr lang="en-US"/>
              <a:t>© 2023 Copyright Genpact. All Rights Reserved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86F72E3-A2AF-43B4-9E23-9DA09898EB89}"/>
              </a:ext>
            </a:extLst>
          </p:cNvPr>
          <p:cNvSpPr txBox="1"/>
          <p:nvPr/>
        </p:nvSpPr>
        <p:spPr>
          <a:xfrm>
            <a:off x="460375" y="5982543"/>
            <a:ext cx="8044143" cy="5020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US" sz="1200">
                <a:solidFill>
                  <a:schemeClr val="tx2"/>
                </a:solidFill>
              </a:rPr>
              <a:t>We encourage you to go to </a:t>
            </a:r>
            <a:r>
              <a:rPr lang="en-US" sz="1200" b="1">
                <a:solidFill>
                  <a:schemeClr val="accent3"/>
                </a:solidFill>
              </a:rPr>
              <a:t>Genpact’s Genome Storytelling track </a:t>
            </a:r>
            <a:r>
              <a:rPr lang="en-US" sz="1200">
                <a:solidFill>
                  <a:schemeClr val="tx2"/>
                </a:solidFill>
              </a:rPr>
              <a:t>for more detailed guidance on writing, storytelling, crafting presentations, pitches, PowerPoint, and more.</a:t>
            </a:r>
          </a:p>
          <a:p>
            <a:pPr algn="ctr"/>
            <a:endParaRPr lang="en-US" sz="1200">
              <a:solidFill>
                <a:schemeClr val="tx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0CDC228-B2C3-684B-9E7C-DD3D20BE80D1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 flipH="1">
            <a:off x="442912" y="1457999"/>
            <a:ext cx="11528693" cy="646331"/>
          </a:xfrm>
          <a:prstGeom prst="rect">
            <a:avLst/>
          </a:prstGeom>
          <a:noFill/>
          <a:ln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45720" rIns="91440" bIns="45720" rtlCol="0" anchor="t" anchorCtr="0">
            <a:noAutofit/>
          </a:bodyPr>
          <a:lstStyle/>
          <a:p>
            <a:r>
              <a:rPr lang="en-US" sz="1200">
                <a:solidFill>
                  <a:schemeClr val="tx2"/>
                </a:solidFill>
                <a:latin typeface="Arial" panose="020B0604020202020204" pitchFamily="34" charset="0"/>
              </a:rPr>
              <a:t>There are two main types of PowerPoint decks:  </a:t>
            </a:r>
            <a:r>
              <a:rPr lang="en-US" sz="1200" b="1">
                <a:solidFill>
                  <a:schemeClr val="accent1"/>
                </a:solidFill>
                <a:latin typeface="Arial" panose="020B0604020202020204" pitchFamily="34" charset="0"/>
              </a:rPr>
              <a:t>1. A visual aid for live presentations</a:t>
            </a:r>
            <a:r>
              <a:rPr lang="en-US" sz="1200">
                <a:solidFill>
                  <a:schemeClr val="tx2"/>
                </a:solidFill>
                <a:latin typeface="Arial" panose="020B0604020202020204" pitchFamily="34" charset="0"/>
              </a:rPr>
              <a:t>;  </a:t>
            </a:r>
            <a:r>
              <a:rPr lang="en-US" sz="1200" b="1">
                <a:solidFill>
                  <a:schemeClr val="accent2"/>
                </a:solidFill>
                <a:latin typeface="Arial" panose="020B0604020202020204" pitchFamily="34" charset="0"/>
              </a:rPr>
              <a:t>2. A document to be read while alone. </a:t>
            </a:r>
            <a:br>
              <a:rPr lang="en-US" sz="1200" b="1">
                <a:solidFill>
                  <a:schemeClr val="accent2"/>
                </a:solidFill>
                <a:latin typeface="Arial" panose="020B0604020202020204" pitchFamily="34" charset="0"/>
              </a:rPr>
            </a:br>
            <a:r>
              <a:rPr lang="en-US" sz="1200">
                <a:solidFill>
                  <a:schemeClr val="tx2"/>
                </a:solidFill>
                <a:latin typeface="Arial" panose="020B0604020202020204" pitchFamily="34" charset="0"/>
              </a:rPr>
              <a:t>Both are two wildly different animals that require different design strategies and tactics. </a:t>
            </a:r>
            <a:br>
              <a:rPr lang="en-US" sz="1200">
                <a:solidFill>
                  <a:schemeClr val="tx2"/>
                </a:solidFill>
                <a:latin typeface="Arial" panose="020B0604020202020204" pitchFamily="34" charset="0"/>
              </a:rPr>
            </a:br>
            <a:r>
              <a:rPr lang="en-US" sz="1200">
                <a:solidFill>
                  <a:schemeClr val="tx2"/>
                </a:solidFill>
                <a:latin typeface="Arial" panose="020B0604020202020204" pitchFamily="34" charset="0"/>
              </a:rPr>
              <a:t>One should be more of a </a:t>
            </a:r>
            <a:r>
              <a:rPr lang="en-US" sz="1200" b="1">
                <a:solidFill>
                  <a:schemeClr val="accent1"/>
                </a:solidFill>
                <a:latin typeface="Arial" panose="020B0604020202020204" pitchFamily="34" charset="0"/>
              </a:rPr>
              <a:t>high-impact storybook</a:t>
            </a:r>
            <a:r>
              <a:rPr lang="en-US" sz="1200" b="1">
                <a:solidFill>
                  <a:schemeClr val="tx2"/>
                </a:solidFill>
                <a:latin typeface="Arial" panose="020B0604020202020204" pitchFamily="34" charset="0"/>
              </a:rPr>
              <a:t>. </a:t>
            </a:r>
            <a:r>
              <a:rPr lang="en-US" sz="1200">
                <a:solidFill>
                  <a:schemeClr val="tx2"/>
                </a:solidFill>
                <a:latin typeface="Arial" panose="020B0604020202020204" pitchFamily="34" charset="0"/>
              </a:rPr>
              <a:t>The other should feel like a </a:t>
            </a:r>
            <a:r>
              <a:rPr lang="en-US" sz="1200" b="1">
                <a:solidFill>
                  <a:schemeClr val="accent2"/>
                </a:solidFill>
                <a:latin typeface="Arial" panose="020B0604020202020204" pitchFamily="34" charset="0"/>
              </a:rPr>
              <a:t>stylish brochure or magazine.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0573386-D8B5-4AD6-ACF6-4B885D350A1F}"/>
              </a:ext>
            </a:extLst>
          </p:cNvPr>
          <p:cNvGrpSpPr/>
          <p:nvPr/>
        </p:nvGrpSpPr>
        <p:grpSpPr>
          <a:xfrm>
            <a:off x="444000" y="2206056"/>
            <a:ext cx="11304000" cy="3704247"/>
            <a:chOff x="442912" y="2206056"/>
            <a:chExt cx="11528693" cy="370424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BA72E14-30EF-A641-B98E-7BE0BCACCC7F}"/>
                </a:ext>
              </a:extLst>
            </p:cNvPr>
            <p:cNvSpPr txBox="1"/>
            <p:nvPr/>
          </p:nvSpPr>
          <p:spPr>
            <a:xfrm>
              <a:off x="442912" y="2206056"/>
              <a:ext cx="2240396" cy="1821558"/>
            </a:xfrm>
            <a:prstGeom prst="rect">
              <a:avLst/>
            </a:prstGeom>
            <a:solidFill>
              <a:schemeClr val="accent3"/>
            </a:solidFill>
          </p:spPr>
          <p:txBody>
            <a:bodyPr vert="horz" wrap="square" lIns="198000" tIns="45720" rIns="198000" bIns="45720" rtlCol="0" anchor="ctr">
              <a:noAutofit/>
            </a:bodyPr>
            <a:lstStyle/>
            <a:p>
              <a:pPr lvl="0" algn="ctr"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1400">
                  <a:solidFill>
                    <a:schemeClr val="bg1"/>
                  </a:solidFill>
                </a:rPr>
                <a:t>You need to know the </a:t>
              </a:r>
              <a:r>
                <a:rPr lang="en-US" sz="1400" b="1">
                  <a:solidFill>
                    <a:schemeClr val="bg1"/>
                  </a:solidFill>
                </a:rPr>
                <a:t>WHY</a:t>
              </a:r>
              <a:r>
                <a:rPr lang="en-US" sz="1400">
                  <a:solidFill>
                    <a:schemeClr val="bg1"/>
                  </a:solidFill>
                </a:rPr>
                <a:t> of your presentation to ensure that the content on every slide is contributing to it in a compelling narrative.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276B1A3-6BF0-B844-A970-41A325A31837}"/>
                </a:ext>
              </a:extLst>
            </p:cNvPr>
            <p:cNvSpPr txBox="1"/>
            <p:nvPr/>
          </p:nvSpPr>
          <p:spPr>
            <a:xfrm>
              <a:off x="609907" y="2206056"/>
              <a:ext cx="2050815" cy="1821558"/>
            </a:xfrm>
            <a:prstGeom prst="rect">
              <a:avLst/>
            </a:prstGeom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algn="ctr"/>
              <a:r>
                <a:rPr lang="en-US" sz="16600">
                  <a:solidFill>
                    <a:schemeClr val="bg1">
                      <a:alpha val="25000"/>
                    </a:schemeClr>
                  </a:solidFill>
                </a:rPr>
                <a:t>1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AD861B0-9E7C-C442-AB93-71277D921991}"/>
                </a:ext>
              </a:extLst>
            </p:cNvPr>
            <p:cNvSpPr txBox="1"/>
            <p:nvPr/>
          </p:nvSpPr>
          <p:spPr>
            <a:xfrm>
              <a:off x="2764987" y="2206056"/>
              <a:ext cx="2240396" cy="1821558"/>
            </a:xfrm>
            <a:prstGeom prst="rect">
              <a:avLst/>
            </a:prstGeom>
            <a:solidFill>
              <a:schemeClr val="accent2"/>
            </a:solidFill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lvl="0" algn="ctr"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1400">
                  <a:solidFill>
                    <a:schemeClr val="bg1"/>
                  </a:solidFill>
                </a:rPr>
                <a:t>One main 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message 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per slide.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4532B86-88EB-F54E-84A2-166A58443CB2}"/>
                </a:ext>
              </a:extLst>
            </p:cNvPr>
            <p:cNvSpPr txBox="1"/>
            <p:nvPr/>
          </p:nvSpPr>
          <p:spPr>
            <a:xfrm>
              <a:off x="3091233" y="2206056"/>
              <a:ext cx="1556019" cy="1821558"/>
            </a:xfrm>
            <a:prstGeom prst="rect">
              <a:avLst/>
            </a:prstGeom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algn="ctr"/>
              <a:r>
                <a:rPr lang="en-US" sz="16600">
                  <a:solidFill>
                    <a:schemeClr val="bg1">
                      <a:alpha val="25000"/>
                    </a:schemeClr>
                  </a:solidFill>
                </a:rPr>
                <a:t>2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C4EE7C0-1A8F-DF40-8A2A-CDB11911563A}"/>
                </a:ext>
              </a:extLst>
            </p:cNvPr>
            <p:cNvSpPr txBox="1"/>
            <p:nvPr/>
          </p:nvSpPr>
          <p:spPr>
            <a:xfrm>
              <a:off x="5087060" y="2206056"/>
              <a:ext cx="2240396" cy="1821558"/>
            </a:xfrm>
            <a:prstGeom prst="rect">
              <a:avLst/>
            </a:prstGeom>
            <a:solidFill>
              <a:srgbClr val="00AECF"/>
            </a:solidFill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lvl="0" algn="ctr"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1400">
                  <a:solidFill>
                    <a:schemeClr val="bg1"/>
                  </a:solidFill>
                </a:rPr>
                <a:t>For live presentations,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no more than six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sub-points per slide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(the human brain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can’t take more in).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7C91DA5-68AD-7141-A398-7DE6D51EE0C6}"/>
                </a:ext>
              </a:extLst>
            </p:cNvPr>
            <p:cNvSpPr txBox="1"/>
            <p:nvPr/>
          </p:nvSpPr>
          <p:spPr>
            <a:xfrm>
              <a:off x="5429248" y="2206056"/>
              <a:ext cx="1556019" cy="1821558"/>
            </a:xfrm>
            <a:prstGeom prst="rect">
              <a:avLst/>
            </a:prstGeom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algn="ctr"/>
              <a:r>
                <a:rPr lang="en-US" sz="16600">
                  <a:solidFill>
                    <a:schemeClr val="bg1">
                      <a:alpha val="25000"/>
                    </a:schemeClr>
                  </a:solidFill>
                </a:rPr>
                <a:t>3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009B08D-8A70-D349-A657-9EFAFA3EEB54}"/>
                </a:ext>
              </a:extLst>
            </p:cNvPr>
            <p:cNvSpPr txBox="1"/>
            <p:nvPr/>
          </p:nvSpPr>
          <p:spPr>
            <a:xfrm>
              <a:off x="7409134" y="2206056"/>
              <a:ext cx="2240396" cy="1821558"/>
            </a:xfrm>
            <a:prstGeom prst="rect">
              <a:avLst/>
            </a:prstGeom>
            <a:solidFill>
              <a:schemeClr val="accent3"/>
            </a:solidFill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algn="ctr"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1400">
                  <a:solidFill>
                    <a:schemeClr val="bg1"/>
                  </a:solidFill>
                </a:rPr>
                <a:t>Use as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few words 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as possible.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1A8DC06-0A00-BE4B-818C-B1801D629121}"/>
                </a:ext>
              </a:extLst>
            </p:cNvPr>
            <p:cNvSpPr txBox="1"/>
            <p:nvPr/>
          </p:nvSpPr>
          <p:spPr>
            <a:xfrm>
              <a:off x="7744678" y="2206056"/>
              <a:ext cx="1556019" cy="1821558"/>
            </a:xfrm>
            <a:prstGeom prst="rect">
              <a:avLst/>
            </a:prstGeom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algn="ctr"/>
              <a:r>
                <a:rPr lang="en-US" sz="16600">
                  <a:solidFill>
                    <a:schemeClr val="bg1">
                      <a:alpha val="25000"/>
                    </a:schemeClr>
                  </a:solidFill>
                </a:rPr>
                <a:t>4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E52D9F2-057E-2641-9D59-3E626163D01A}"/>
                </a:ext>
              </a:extLst>
            </p:cNvPr>
            <p:cNvSpPr txBox="1"/>
            <p:nvPr/>
          </p:nvSpPr>
          <p:spPr>
            <a:xfrm>
              <a:off x="9731209" y="2206056"/>
              <a:ext cx="2240396" cy="1821558"/>
            </a:xfrm>
            <a:prstGeom prst="rect">
              <a:avLst/>
            </a:prstGeom>
            <a:solidFill>
              <a:schemeClr val="accent2"/>
            </a:solidFill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algn="ctr"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1400">
                  <a:solidFill>
                    <a:schemeClr val="bg1"/>
                  </a:solidFill>
                </a:rPr>
                <a:t>Make it as visual as possible: Illustrate 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the ideas. If you use photos, make sure you have the rights to use them. Avoid clip art.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17332E1-1D69-9244-86F3-F7C2F79982F0}"/>
                </a:ext>
              </a:extLst>
            </p:cNvPr>
            <p:cNvSpPr txBox="1"/>
            <p:nvPr/>
          </p:nvSpPr>
          <p:spPr>
            <a:xfrm>
              <a:off x="10073397" y="2206056"/>
              <a:ext cx="1556019" cy="1821558"/>
            </a:xfrm>
            <a:prstGeom prst="rect">
              <a:avLst/>
            </a:prstGeom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algn="ctr"/>
              <a:r>
                <a:rPr lang="en-US" sz="16600">
                  <a:solidFill>
                    <a:schemeClr val="bg1">
                      <a:alpha val="25000"/>
                    </a:schemeClr>
                  </a:solidFill>
                </a:rPr>
                <a:t>5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EC29B7D-A5D0-E74C-B240-1C20B240D15D}"/>
                </a:ext>
              </a:extLst>
            </p:cNvPr>
            <p:cNvSpPr txBox="1"/>
            <p:nvPr/>
          </p:nvSpPr>
          <p:spPr>
            <a:xfrm>
              <a:off x="442912" y="4088747"/>
              <a:ext cx="2240396" cy="182155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lvl="0" algn="ctr"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1400">
                  <a:solidFill>
                    <a:schemeClr val="bg1"/>
                  </a:solidFill>
                </a:rPr>
                <a:t>Ensure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readability is easy. 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Big type.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High contrast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with background. 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Not too crowded.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D3149A5-C979-8949-BDCF-B195AA4A5C0B}"/>
                </a:ext>
              </a:extLst>
            </p:cNvPr>
            <p:cNvSpPr txBox="1"/>
            <p:nvPr/>
          </p:nvSpPr>
          <p:spPr>
            <a:xfrm>
              <a:off x="825023" y="4064038"/>
              <a:ext cx="1556019" cy="1821556"/>
            </a:xfrm>
            <a:prstGeom prst="rect">
              <a:avLst/>
            </a:prstGeom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algn="ctr"/>
              <a:r>
                <a:rPr lang="en-US" sz="16600">
                  <a:solidFill>
                    <a:schemeClr val="bg1">
                      <a:alpha val="25000"/>
                    </a:schemeClr>
                  </a:solidFill>
                </a:rPr>
                <a:t>6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6D9911F-2E3B-B545-8BC2-57FEB55CE1DA}"/>
                </a:ext>
              </a:extLst>
            </p:cNvPr>
            <p:cNvSpPr txBox="1"/>
            <p:nvPr/>
          </p:nvSpPr>
          <p:spPr>
            <a:xfrm>
              <a:off x="2764987" y="4088747"/>
              <a:ext cx="2240396" cy="1821556"/>
            </a:xfrm>
            <a:prstGeom prst="rect">
              <a:avLst/>
            </a:prstGeom>
            <a:solidFill>
              <a:schemeClr val="accent3"/>
            </a:solidFill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lvl="0" algn="ctr"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1400">
                  <a:solidFill>
                    <a:schemeClr val="bg1"/>
                  </a:solidFill>
                </a:rPr>
                <a:t>Avoid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attention-stealing animations 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and special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transition effects. 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6A1AADF-9F52-9B4C-9D55-89A35461FCF4}"/>
                </a:ext>
              </a:extLst>
            </p:cNvPr>
            <p:cNvSpPr txBox="1"/>
            <p:nvPr/>
          </p:nvSpPr>
          <p:spPr>
            <a:xfrm>
              <a:off x="3091233" y="4088747"/>
              <a:ext cx="1556019" cy="1821556"/>
            </a:xfrm>
            <a:prstGeom prst="rect">
              <a:avLst/>
            </a:prstGeom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algn="ctr"/>
              <a:r>
                <a:rPr lang="en-US" sz="16600">
                  <a:solidFill>
                    <a:schemeClr val="bg1">
                      <a:alpha val="25000"/>
                    </a:schemeClr>
                  </a:solidFill>
                </a:rPr>
                <a:t>7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9B837AB-A8B7-C54C-B5EB-AE4C129960A8}"/>
                </a:ext>
              </a:extLst>
            </p:cNvPr>
            <p:cNvSpPr txBox="1"/>
            <p:nvPr/>
          </p:nvSpPr>
          <p:spPr>
            <a:xfrm>
              <a:off x="5087060" y="4088747"/>
              <a:ext cx="2240396" cy="1821556"/>
            </a:xfrm>
            <a:prstGeom prst="rect">
              <a:avLst/>
            </a:prstGeom>
            <a:solidFill>
              <a:schemeClr val="accent2"/>
            </a:solidFill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lvl="0" algn="ctr"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1400">
                  <a:solidFill>
                    <a:schemeClr val="bg1"/>
                  </a:solidFill>
                </a:rPr>
                <a:t>Every typo or misplaced item weakens your credibility. Find someone else to proof your deck for you—you are blind to your own mistakes.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8D2DCCE-7CC6-F149-9CD4-4438F7C9C522}"/>
                </a:ext>
              </a:extLst>
            </p:cNvPr>
            <p:cNvSpPr txBox="1"/>
            <p:nvPr/>
          </p:nvSpPr>
          <p:spPr>
            <a:xfrm>
              <a:off x="5415960" y="4088747"/>
              <a:ext cx="1556019" cy="1821556"/>
            </a:xfrm>
            <a:prstGeom prst="rect">
              <a:avLst/>
            </a:prstGeom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algn="ctr"/>
              <a:r>
                <a:rPr lang="en-US" sz="16600">
                  <a:solidFill>
                    <a:schemeClr val="bg1">
                      <a:alpha val="25000"/>
                    </a:schemeClr>
                  </a:solidFill>
                </a:rPr>
                <a:t>8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06F056C-2016-1645-9139-5CFD00C19708}"/>
                </a:ext>
              </a:extLst>
            </p:cNvPr>
            <p:cNvSpPr txBox="1"/>
            <p:nvPr/>
          </p:nvSpPr>
          <p:spPr>
            <a:xfrm>
              <a:off x="7409134" y="4088747"/>
              <a:ext cx="2240396" cy="182155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lvl="0" algn="ctr"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1400">
                  <a:solidFill>
                    <a:schemeClr val="bg1"/>
                  </a:solidFill>
                </a:rPr>
                <a:t>General rule: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If something on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the page is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distracting from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the main message, remove it.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6911C62-CC50-2A48-BD67-5956D8997E6D}"/>
                </a:ext>
              </a:extLst>
            </p:cNvPr>
            <p:cNvSpPr txBox="1"/>
            <p:nvPr/>
          </p:nvSpPr>
          <p:spPr>
            <a:xfrm>
              <a:off x="7825707" y="4088747"/>
              <a:ext cx="1393960" cy="1821556"/>
            </a:xfrm>
            <a:prstGeom prst="rect">
              <a:avLst/>
            </a:prstGeom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algn="ctr"/>
              <a:r>
                <a:rPr lang="en-US" sz="16600">
                  <a:solidFill>
                    <a:schemeClr val="bg1">
                      <a:alpha val="25000"/>
                    </a:schemeClr>
                  </a:solidFill>
                </a:rPr>
                <a:t>9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A0D4862-E943-214E-A3C1-FC53D6433B8E}"/>
                </a:ext>
              </a:extLst>
            </p:cNvPr>
            <p:cNvSpPr txBox="1"/>
            <p:nvPr/>
          </p:nvSpPr>
          <p:spPr>
            <a:xfrm>
              <a:off x="9731209" y="4088747"/>
              <a:ext cx="2240396" cy="1821556"/>
            </a:xfrm>
            <a:prstGeom prst="rect">
              <a:avLst/>
            </a:prstGeom>
            <a:solidFill>
              <a:schemeClr val="accent3"/>
            </a:solidFill>
          </p:spPr>
          <p:txBody>
            <a:bodyPr vert="horz" wrap="square" lIns="90000" tIns="45720" rIns="90000" bIns="45720" rtlCol="0" anchor="ctr">
              <a:noAutofit/>
            </a:bodyPr>
            <a:lstStyle/>
            <a:p>
              <a:pPr lvl="0" algn="ctr"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1400">
                  <a:solidFill>
                    <a:schemeClr val="bg1"/>
                  </a:solidFill>
                </a:rPr>
                <a:t>Learn, know,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and follow Genpact’s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(and/or the client’s)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visual brand and</a:t>
              </a:r>
              <a:br>
                <a:rPr lang="en-US" sz="1400">
                  <a:solidFill>
                    <a:schemeClr val="bg1"/>
                  </a:solidFill>
                </a:rPr>
              </a:br>
              <a:r>
                <a:rPr lang="en-US" sz="1400">
                  <a:solidFill>
                    <a:schemeClr val="bg1"/>
                  </a:solidFill>
                </a:rPr>
                <a:t>writing style guidelines.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9BAD9ED-9412-C14A-8A40-79B685AB78B0}"/>
                </a:ext>
              </a:extLst>
            </p:cNvPr>
            <p:cNvSpPr txBox="1"/>
            <p:nvPr/>
          </p:nvSpPr>
          <p:spPr>
            <a:xfrm>
              <a:off x="9698464" y="4088747"/>
              <a:ext cx="2169224" cy="1821556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16600">
                  <a:solidFill>
                    <a:schemeClr val="bg1">
                      <a:alpha val="25000"/>
                    </a:schemeClr>
                  </a:solidFill>
                </a:rPr>
                <a:t>10</a:t>
              </a:r>
            </a:p>
          </p:txBody>
        </p:sp>
      </p:grpSp>
      <p:grpSp>
        <p:nvGrpSpPr>
          <p:cNvPr id="29" name="Post-it Note">
            <a:extLst>
              <a:ext uri="{FF2B5EF4-FFF2-40B4-BE49-F238E27FC236}">
                <a16:creationId xmlns:a16="http://schemas.microsoft.com/office/drawing/2014/main" id="{E39C55DA-AC5F-4763-8AF7-1634CA149AC8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12589055" y="200472"/>
            <a:ext cx="2702228" cy="2482849"/>
            <a:chOff x="6631709" y="986325"/>
            <a:chExt cx="2702228" cy="2482849"/>
          </a:xfrm>
        </p:grpSpPr>
        <p:pic>
          <p:nvPicPr>
            <p:cNvPr id="30" name="Grafik 5" descr="PostIt.png">
              <a:extLst>
                <a:ext uri="{FF2B5EF4-FFF2-40B4-BE49-F238E27FC236}">
                  <a16:creationId xmlns:a16="http://schemas.microsoft.com/office/drawing/2014/main" id="{4A0BAE50-9FCC-430B-B1A4-51F2AA4A43ED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8" cstate="print"/>
            <a:stretch>
              <a:fillRect/>
            </a:stretch>
          </p:blipFill>
          <p:spPr>
            <a:xfrm rot="388300">
              <a:off x="6631709" y="986325"/>
              <a:ext cx="2702228" cy="2482849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D1C2995-C492-4F3A-A67D-4B1204ADCDF2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rot="360376">
              <a:off x="6969220" y="1181223"/>
              <a:ext cx="2173731" cy="19674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108000" tIns="108000" rIns="108000" bIns="108000" anchor="ctr">
              <a:normAutofit/>
            </a:bodyPr>
            <a:lstStyle/>
            <a:p>
              <a:pPr algn="ctr"/>
              <a:r>
                <a:rPr lang="en-US" b="1"/>
                <a:t>That’s better!</a:t>
              </a:r>
              <a:endParaRPr lang="en-US" sz="1400" b="1"/>
            </a:p>
          </p:txBody>
        </p:sp>
      </p:grpSp>
      <p:cxnSp>
        <p:nvCxnSpPr>
          <p:cNvPr id="33" name="Genpact Line">
            <a:extLst>
              <a:ext uri="{FF2B5EF4-FFF2-40B4-BE49-F238E27FC236}">
                <a16:creationId xmlns:a16="http://schemas.microsoft.com/office/drawing/2014/main" id="{5FF9C2B8-99FF-44AB-BCB2-8355BA0ABE98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457200" y="1244774"/>
            <a:ext cx="1078992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26393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1B4BC2-E314-421B-8B6F-27A1AABF4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99" y="388845"/>
            <a:ext cx="11303999" cy="990001"/>
          </a:xfrm>
        </p:spPr>
        <p:txBody>
          <a:bodyPr/>
          <a:lstStyle/>
          <a:p>
            <a:r>
              <a:rPr lang="en-GB"/>
              <a:t>User guide – inserting new slides 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ABDE5B8F-D5DC-46E3-B4B6-4A954EC1ED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24C41A2-EE39-4D09-9DB5-5B148F49F7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</p:spPr>
        <p:txBody>
          <a:bodyPr/>
          <a:lstStyle/>
          <a:p>
            <a:r>
              <a:rPr lang="en-US"/>
              <a:t>© 2023 Copyright Genpact. All Rights Reserved.</a:t>
            </a:r>
          </a:p>
        </p:txBody>
      </p:sp>
      <p:sp>
        <p:nvSpPr>
          <p:cNvPr id="5" name="G subhead">
            <a:extLst>
              <a:ext uri="{FF2B5EF4-FFF2-40B4-BE49-F238E27FC236}">
                <a16:creationId xmlns:a16="http://schemas.microsoft.com/office/drawing/2014/main" id="{D20B4609-FD0C-46FA-B0CF-8345AC0DA30F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0744" y="1457999"/>
            <a:ext cx="11288344" cy="5334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800" b="0" kern="120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2pPr marL="4381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lang="en-US" sz="16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  <a:lvl3pPr marL="52387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  <a:lvl4pPr marL="555625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9625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GB" sz="105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Slide layouts are pre-set frameworks set up for different page types, such as titles, slide dividers, standard content pages etc, used when you create a slide. They contain lots of helpful elements and placeholders needed to create your new slide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FF56F54-0A2B-478B-A73E-B4F39FB4DA8D}"/>
              </a:ext>
            </a:extLst>
          </p:cNvPr>
          <p:cNvGrpSpPr/>
          <p:nvPr/>
        </p:nvGrpSpPr>
        <p:grpSpPr>
          <a:xfrm>
            <a:off x="560141" y="2387237"/>
            <a:ext cx="2898738" cy="375681"/>
            <a:chOff x="7576722" y="3036877"/>
            <a:chExt cx="2898738" cy="375681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B1472FA-7109-47C0-8014-C39295A3A2BB}"/>
                </a:ext>
              </a:extLst>
            </p:cNvPr>
            <p:cNvSpPr/>
            <p:nvPr/>
          </p:nvSpPr>
          <p:spPr>
            <a:xfrm>
              <a:off x="7576723" y="3126714"/>
              <a:ext cx="272470" cy="1798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02AEE893-2B01-46D0-8F18-386B3D824F28}"/>
                </a:ext>
              </a:extLst>
            </p:cNvPr>
            <p:cNvGrpSpPr/>
            <p:nvPr/>
          </p:nvGrpSpPr>
          <p:grpSpPr>
            <a:xfrm>
              <a:off x="7576722" y="3036877"/>
              <a:ext cx="2898738" cy="375681"/>
              <a:chOff x="6954943" y="2517320"/>
              <a:chExt cx="2898738" cy="375681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79F2D7B3-9612-4159-8710-138142F78DF4}"/>
                  </a:ext>
                </a:extLst>
              </p:cNvPr>
              <p:cNvSpPr txBox="1"/>
              <p:nvPr/>
            </p:nvSpPr>
            <p:spPr>
              <a:xfrm>
                <a:off x="7290474" y="2533001"/>
                <a:ext cx="2563207" cy="3600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txBody>
              <a:bodyPr wrap="square" lIns="80532" tIns="40266" rIns="80532" bIns="40266" rtlCol="0" anchor="ctr">
                <a:noAutofit/>
              </a:bodyPr>
              <a:lstStyle/>
              <a:p>
                <a:pPr>
                  <a:spcBef>
                    <a:spcPts val="528"/>
                  </a:spcBef>
                </a:pPr>
                <a:r>
                  <a:rPr lang="en-GB" sz="1600" b="1">
                    <a:solidFill>
                      <a:schemeClr val="accent3"/>
                    </a:solidFill>
                    <a:latin typeface="+mj-lt"/>
                  </a:rPr>
                  <a:t>Insert New Slide (Home tab)</a:t>
                </a:r>
              </a:p>
            </p:txBody>
          </p:sp>
          <p:sp>
            <p:nvSpPr>
              <p:cNvPr id="12" name="Text Placeholder 9">
                <a:extLst>
                  <a:ext uri="{FF2B5EF4-FFF2-40B4-BE49-F238E27FC236}">
                    <a16:creationId xmlns:a16="http://schemas.microsoft.com/office/drawing/2014/main" id="{17B192D7-2E53-4625-AE64-D63A4998160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954943" y="2517320"/>
                <a:ext cx="272470" cy="375681"/>
              </a:xfrm>
              <a:custGeom>
                <a:avLst/>
                <a:gdLst>
                  <a:gd name="connsiteX0" fmla="*/ 135118 w 272470"/>
                  <a:gd name="connsiteY0" fmla="*/ 0 h 375681"/>
                  <a:gd name="connsiteX1" fmla="*/ 272470 w 272470"/>
                  <a:gd name="connsiteY1" fmla="*/ 95583 h 375681"/>
                  <a:gd name="connsiteX2" fmla="*/ 272470 w 272470"/>
                  <a:gd name="connsiteY2" fmla="*/ 282314 h 375681"/>
                  <a:gd name="connsiteX3" fmla="*/ 136235 w 272470"/>
                  <a:gd name="connsiteY3" fmla="*/ 375681 h 375681"/>
                  <a:gd name="connsiteX4" fmla="*/ 0 w 272470"/>
                  <a:gd name="connsiteY4" fmla="*/ 283423 h 375681"/>
                  <a:gd name="connsiteX5" fmla="*/ 0 w 272470"/>
                  <a:gd name="connsiteY5" fmla="*/ 95583 h 375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2470" h="375681">
                    <a:moveTo>
                      <a:pt x="135118" y="0"/>
                    </a:moveTo>
                    <a:lnTo>
                      <a:pt x="272470" y="95583"/>
                    </a:lnTo>
                    <a:lnTo>
                      <a:pt x="272470" y="282314"/>
                    </a:lnTo>
                    <a:lnTo>
                      <a:pt x="136235" y="375681"/>
                    </a:lnTo>
                    <a:lnTo>
                      <a:pt x="0" y="283423"/>
                    </a:lnTo>
                    <a:lnTo>
                      <a:pt x="0" y="95583"/>
                    </a:lnTo>
                    <a:close/>
                  </a:path>
                </a:pathLst>
              </a:custGeom>
              <a:solidFill>
                <a:schemeClr val="accent3"/>
              </a:solidFill>
            </p:spPr>
            <p:txBody>
              <a:bodyPr wrap="square" lIns="0" tIns="0" rIns="0" bIns="0" anchor="ctr" anchorCtr="0">
                <a:noAutofit/>
              </a:bodyPr>
              <a:lstStyle>
                <a:lvl1pPr marL="0" indent="0" algn="ctr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None/>
                  <a:defRPr lang="en-US" sz="1600" b="0" kern="1200">
                    <a:solidFill>
                      <a:schemeClr val="bg1"/>
                    </a:solidFill>
                    <a:latin typeface="+mn-lt"/>
                    <a:ea typeface="Cambria" panose="02040503050406030204" pitchFamily="18" charset="0"/>
                    <a:cs typeface="Calibri" panose="020F0502020204030204" pitchFamily="34" charset="0"/>
                  </a:defRPr>
                </a:lvl1pPr>
                <a:lvl2pPr marL="2667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1"/>
                  </a:buClr>
                  <a:buFont typeface="Arial" panose="020B0604020202020204" pitchFamily="34" charset="0"/>
                  <a:buNone/>
                  <a:defRPr lang="en-US" sz="1600" b="0" kern="1200">
                    <a:solidFill>
                      <a:schemeClr val="tx2"/>
                    </a:solidFill>
                    <a:latin typeface="+mn-lt"/>
                    <a:ea typeface="Cambria" panose="02040503050406030204" pitchFamily="18" charset="0"/>
                    <a:cs typeface="Calibri" panose="020F0502020204030204" pitchFamily="34" charset="0"/>
                  </a:defRPr>
                </a:lvl2pPr>
                <a:lvl3pPr marL="523875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Tx/>
                  <a:buNone/>
                  <a:defRPr lang="en-US" sz="1400" kern="1200" dirty="0">
                    <a:solidFill>
                      <a:schemeClr val="tx2"/>
                    </a:solidFill>
                    <a:latin typeface="+mn-lt"/>
                    <a:ea typeface="Cambria" panose="02040503050406030204" pitchFamily="18" charset="0"/>
                    <a:cs typeface="Calibri" panose="020F0502020204030204" pitchFamily="34" charset="0"/>
                  </a:defRPr>
                </a:lvl3pPr>
                <a:lvl4pPr marL="555625" indent="-28575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lang="en-US" sz="1200" kern="1200" dirty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809625" indent="-28575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lang="en-GB" sz="1050" kern="1200" dirty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/>
                  <a:t>1</a:t>
                </a:r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91C8F96-DA7B-486E-86C5-9DF2149F9A15}"/>
              </a:ext>
            </a:extLst>
          </p:cNvPr>
          <p:cNvGrpSpPr/>
          <p:nvPr/>
        </p:nvGrpSpPr>
        <p:grpSpPr>
          <a:xfrm>
            <a:off x="560141" y="2929443"/>
            <a:ext cx="3016436" cy="947885"/>
            <a:chOff x="6954943" y="2517320"/>
            <a:chExt cx="3016436" cy="94788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4FFBEE-6075-47F2-897F-9F3DA6D05036}"/>
                </a:ext>
              </a:extLst>
            </p:cNvPr>
            <p:cNvSpPr txBox="1"/>
            <p:nvPr/>
          </p:nvSpPr>
          <p:spPr>
            <a:xfrm>
              <a:off x="7290474" y="2533001"/>
              <a:ext cx="2563207" cy="360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square" lIns="80532" tIns="40266" rIns="80532" bIns="40266" rtlCol="0" anchor="ctr">
              <a:noAutofit/>
            </a:bodyPr>
            <a:lstStyle/>
            <a:p>
              <a:pPr>
                <a:spcBef>
                  <a:spcPts val="528"/>
                </a:spcBef>
              </a:pPr>
              <a:r>
                <a:rPr lang="en-GB" sz="1600" b="1">
                  <a:solidFill>
                    <a:schemeClr val="accent2"/>
                  </a:solidFill>
                  <a:latin typeface="+mj-lt"/>
                </a:rPr>
                <a:t>Select layout</a:t>
              </a:r>
            </a:p>
          </p:txBody>
        </p:sp>
        <p:sp>
          <p:nvSpPr>
            <p:cNvPr id="16" name="Text Placeholder 9">
              <a:extLst>
                <a:ext uri="{FF2B5EF4-FFF2-40B4-BE49-F238E27FC236}">
                  <a16:creationId xmlns:a16="http://schemas.microsoft.com/office/drawing/2014/main" id="{F5A5E324-7BDD-4068-B118-37B53331F18E}"/>
                </a:ext>
              </a:extLst>
            </p:cNvPr>
            <p:cNvSpPr txBox="1">
              <a:spLocks/>
            </p:cNvSpPr>
            <p:nvPr/>
          </p:nvSpPr>
          <p:spPr>
            <a:xfrm>
              <a:off x="6954943" y="2517320"/>
              <a:ext cx="272470" cy="375681"/>
            </a:xfrm>
            <a:custGeom>
              <a:avLst/>
              <a:gdLst>
                <a:gd name="connsiteX0" fmla="*/ 135118 w 272470"/>
                <a:gd name="connsiteY0" fmla="*/ 0 h 375681"/>
                <a:gd name="connsiteX1" fmla="*/ 272470 w 272470"/>
                <a:gd name="connsiteY1" fmla="*/ 95583 h 375681"/>
                <a:gd name="connsiteX2" fmla="*/ 272470 w 272470"/>
                <a:gd name="connsiteY2" fmla="*/ 282314 h 375681"/>
                <a:gd name="connsiteX3" fmla="*/ 136235 w 272470"/>
                <a:gd name="connsiteY3" fmla="*/ 375681 h 375681"/>
                <a:gd name="connsiteX4" fmla="*/ 0 w 272470"/>
                <a:gd name="connsiteY4" fmla="*/ 283423 h 375681"/>
                <a:gd name="connsiteX5" fmla="*/ 0 w 272470"/>
                <a:gd name="connsiteY5" fmla="*/ 95583 h 375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2470" h="375681">
                  <a:moveTo>
                    <a:pt x="135118" y="0"/>
                  </a:moveTo>
                  <a:lnTo>
                    <a:pt x="272470" y="95583"/>
                  </a:lnTo>
                  <a:lnTo>
                    <a:pt x="272470" y="282314"/>
                  </a:lnTo>
                  <a:lnTo>
                    <a:pt x="136235" y="375681"/>
                  </a:lnTo>
                  <a:lnTo>
                    <a:pt x="0" y="283423"/>
                  </a:lnTo>
                  <a:lnTo>
                    <a:pt x="0" y="95583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square" lIns="0" tIns="0" rIns="0" bIns="0" anchor="ctr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  <a:defRPr lang="en-US" sz="1600" b="0" kern="1200">
                  <a:solidFill>
                    <a:schemeClr val="bg1"/>
                  </a:solidFill>
                  <a:latin typeface="+mn-lt"/>
                  <a:ea typeface="Cambria" panose="02040503050406030204" pitchFamily="18" charset="0"/>
                  <a:cs typeface="Calibri" panose="020F0502020204030204" pitchFamily="34" charset="0"/>
                </a:defRPr>
              </a:lvl1pPr>
              <a:lvl2pPr marL="2667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lang="en-US" sz="1600" b="0" kern="1200">
                  <a:solidFill>
                    <a:schemeClr val="tx2"/>
                  </a:solidFill>
                  <a:latin typeface="+mn-lt"/>
                  <a:ea typeface="Cambria" panose="02040503050406030204" pitchFamily="18" charset="0"/>
                  <a:cs typeface="Calibri" panose="020F0502020204030204" pitchFamily="34" charset="0"/>
                </a:defRPr>
              </a:lvl2pPr>
              <a:lvl3pPr marL="523875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lang="en-US" sz="1400" kern="1200" dirty="0">
                  <a:solidFill>
                    <a:schemeClr val="tx2"/>
                  </a:solidFill>
                  <a:latin typeface="+mn-lt"/>
                  <a:ea typeface="Cambria" panose="02040503050406030204" pitchFamily="18" charset="0"/>
                  <a:cs typeface="Calibri" panose="020F0502020204030204" pitchFamily="34" charset="0"/>
                </a:defRPr>
              </a:lvl3pPr>
              <a:lvl4pPr marL="555625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lang="en-US" sz="1200" kern="1200" dirty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809625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en-GB" sz="1050" kern="1200" dirty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/>
                <a:t>2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58DFBD9-98DF-4618-9BFA-60BF51BA8E31}"/>
                </a:ext>
              </a:extLst>
            </p:cNvPr>
            <p:cNvSpPr txBox="1"/>
            <p:nvPr/>
          </p:nvSpPr>
          <p:spPr>
            <a:xfrm>
              <a:off x="7290473" y="2928774"/>
              <a:ext cx="2680906" cy="53643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square" lIns="80532" tIns="40266" rIns="80532" bIns="40266" rtlCol="0" anchor="t">
              <a:noAutofit/>
            </a:bodyPr>
            <a:lstStyle/>
            <a:p>
              <a:pPr>
                <a:spcBef>
                  <a:spcPts val="528"/>
                </a:spcBef>
              </a:pPr>
              <a:r>
                <a:rPr lang="en-GB" sz="1400">
                  <a:solidFill>
                    <a:schemeClr val="tx2"/>
                  </a:solidFill>
                </a:rPr>
                <a:t>The slide is then added and you can add your content and adapt and format it as required</a:t>
              </a: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60E00FF4-59DC-4A8F-9C7D-301FDEC2EA8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0141" y="4226579"/>
            <a:ext cx="2459421" cy="1389802"/>
          </a:xfrm>
          <a:prstGeom prst="rect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D5F34F47-E507-4BE3-A414-77C8AE715CCA}"/>
              </a:ext>
            </a:extLst>
          </p:cNvPr>
          <p:cNvGrpSpPr/>
          <p:nvPr/>
        </p:nvGrpSpPr>
        <p:grpSpPr>
          <a:xfrm>
            <a:off x="3706899" y="2238234"/>
            <a:ext cx="5514998" cy="3082227"/>
            <a:chOff x="442913" y="2459643"/>
            <a:chExt cx="6073502" cy="339436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031B168-97E4-4508-B571-555AFF2D88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145"/>
            <a:stretch/>
          </p:blipFill>
          <p:spPr>
            <a:xfrm>
              <a:off x="442913" y="2459643"/>
              <a:ext cx="6073502" cy="339436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B94F053-58D6-4DA8-B36E-2E90FBDC9775}"/>
                </a:ext>
              </a:extLst>
            </p:cNvPr>
            <p:cNvSpPr/>
            <p:nvPr/>
          </p:nvSpPr>
          <p:spPr>
            <a:xfrm>
              <a:off x="1040000" y="2696644"/>
              <a:ext cx="327660" cy="537210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3CFC213-A0DF-4000-B06D-B909FE565198}"/>
                </a:ext>
              </a:extLst>
            </p:cNvPr>
            <p:cNvSpPr/>
            <p:nvPr/>
          </p:nvSpPr>
          <p:spPr>
            <a:xfrm>
              <a:off x="4368275" y="3188595"/>
              <a:ext cx="704718" cy="657977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1A287F5-C768-4037-8FBB-1B2A4CD58593}"/>
                </a:ext>
              </a:extLst>
            </p:cNvPr>
            <p:cNvSpPr txBox="1"/>
            <p:nvPr/>
          </p:nvSpPr>
          <p:spPr>
            <a:xfrm>
              <a:off x="2952458" y="5302451"/>
              <a:ext cx="3350753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400">
                  <a:solidFill>
                    <a:schemeClr val="tx2"/>
                  </a:solidFill>
                </a:rPr>
                <a:t>NOTE:  There are light and dark variants for each layout type.</a:t>
              </a:r>
            </a:p>
          </p:txBody>
        </p:sp>
      </p:grp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3604223A-0982-44A7-8A77-E4846E0CC179}"/>
              </a:ext>
            </a:extLst>
          </p:cNvPr>
          <p:cNvCxnSpPr>
            <a:cxnSpLocks/>
          </p:cNvCxnSpPr>
          <p:nvPr/>
        </p:nvCxnSpPr>
        <p:spPr>
          <a:xfrm>
            <a:off x="2402064" y="2720005"/>
            <a:ext cx="1847015" cy="0"/>
          </a:xfrm>
          <a:prstGeom prst="straightConnector1">
            <a:avLst/>
          </a:prstGeom>
          <a:ln>
            <a:solidFill>
              <a:schemeClr val="accent3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9A97BAE9-CEB1-4B1F-92AE-46E05A4390EC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2402064" y="3117863"/>
            <a:ext cx="4869231" cy="0"/>
          </a:xfrm>
          <a:prstGeom prst="straightConnector1">
            <a:avLst/>
          </a:prstGeom>
          <a:ln>
            <a:solidFill>
              <a:schemeClr val="accent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23">
            <a:extLst>
              <a:ext uri="{FF2B5EF4-FFF2-40B4-BE49-F238E27FC236}">
                <a16:creationId xmlns:a16="http://schemas.microsoft.com/office/drawing/2014/main" id="{8CF74FDA-0E40-45CD-ACD7-F529F67B3F11}"/>
              </a:ext>
            </a:extLst>
          </p:cNvPr>
          <p:cNvCxnSpPr>
            <a:cxnSpLocks/>
            <a:stCxn id="19" idx="2"/>
            <a:endCxn id="18" idx="2"/>
          </p:cNvCxnSpPr>
          <p:nvPr/>
        </p:nvCxnSpPr>
        <p:spPr>
          <a:xfrm rot="5400000">
            <a:off x="3631174" y="1656302"/>
            <a:ext cx="2118757" cy="5801400"/>
          </a:xfrm>
          <a:prstGeom prst="bentConnector3">
            <a:avLst>
              <a:gd name="adj1" fmla="val 110789"/>
            </a:avLst>
          </a:prstGeom>
          <a:ln>
            <a:solidFill>
              <a:schemeClr val="accent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214DD0FD-F4F8-42B9-AC58-DCE85B04AA8D}"/>
              </a:ext>
            </a:extLst>
          </p:cNvPr>
          <p:cNvSpPr txBox="1"/>
          <p:nvPr/>
        </p:nvSpPr>
        <p:spPr>
          <a:xfrm>
            <a:off x="9600948" y="2238234"/>
            <a:ext cx="2145852" cy="3891103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/>
          <a:p>
            <a:pPr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200">
                <a:solidFill>
                  <a:schemeClr val="bg1"/>
                </a:solidFill>
              </a:rPr>
              <a:t>NOTE: </a:t>
            </a:r>
          </a:p>
          <a:p>
            <a:pPr marL="171450" indent="-171450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■"/>
            </a:pPr>
            <a:r>
              <a:rPr lang="en-US" sz="1200">
                <a:solidFill>
                  <a:schemeClr val="bg1"/>
                </a:solidFill>
              </a:rPr>
              <a:t>You can also </a:t>
            </a:r>
            <a:r>
              <a:rPr lang="en-US" sz="1200" b="1">
                <a:solidFill>
                  <a:schemeClr val="bg1"/>
                </a:solidFill>
              </a:rPr>
              <a:t>CHANGE YOUR LAYOUT </a:t>
            </a:r>
            <a:r>
              <a:rPr lang="en-US" sz="1200">
                <a:solidFill>
                  <a:schemeClr val="bg1"/>
                </a:solidFill>
              </a:rPr>
              <a:t>if your content needs a different set up. </a:t>
            </a:r>
            <a:r>
              <a:rPr lang="en-GB" sz="1200">
                <a:solidFill>
                  <a:schemeClr val="bg1"/>
                </a:solidFill>
              </a:rPr>
              <a:t>To change the layout of an existing slide, go to </a:t>
            </a:r>
            <a:r>
              <a:rPr lang="en-GB" sz="1200" b="1">
                <a:solidFill>
                  <a:schemeClr val="bg1"/>
                </a:solidFill>
              </a:rPr>
              <a:t>HOME – LAYOUT </a:t>
            </a:r>
            <a:r>
              <a:rPr lang="en-GB" sz="1200">
                <a:solidFill>
                  <a:schemeClr val="bg1"/>
                </a:solidFill>
              </a:rPr>
              <a:t>and select a new layout to replace the current one.</a:t>
            </a:r>
          </a:p>
          <a:p>
            <a:pPr marL="171450" indent="-171450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■"/>
            </a:pPr>
            <a:r>
              <a:rPr lang="en-GB" sz="1200">
                <a:solidFill>
                  <a:schemeClr val="bg1"/>
                </a:solidFill>
              </a:rPr>
              <a:t>Another useful tool is to </a:t>
            </a:r>
            <a:r>
              <a:rPr lang="en-GB" sz="1200" b="1">
                <a:solidFill>
                  <a:schemeClr val="bg1"/>
                </a:solidFill>
              </a:rPr>
              <a:t>RESET YOUR LAYOUT</a:t>
            </a:r>
            <a:r>
              <a:rPr lang="en-GB" sz="1200">
                <a:solidFill>
                  <a:schemeClr val="bg1"/>
                </a:solidFill>
              </a:rPr>
              <a:t>. This will reset the size, position and format of all the placeholder objects on the slide to their default settings. To reset a layout, go to </a:t>
            </a:r>
            <a:r>
              <a:rPr lang="en-GB" sz="1200" b="1">
                <a:solidFill>
                  <a:schemeClr val="bg1"/>
                </a:solidFill>
              </a:rPr>
              <a:t>HOME – RESET</a:t>
            </a:r>
            <a:r>
              <a:rPr lang="en-GB" sz="1200">
                <a:solidFill>
                  <a:schemeClr val="bg1"/>
                </a:solidFill>
              </a:rPr>
              <a:t>. </a:t>
            </a:r>
            <a:endParaRPr lang="en-US">
              <a:solidFill>
                <a:schemeClr val="bg1"/>
              </a:solidFill>
            </a:endParaRPr>
          </a:p>
        </p:txBody>
      </p:sp>
      <p:cxnSp>
        <p:nvCxnSpPr>
          <p:cNvPr id="32" name="Genpact Line">
            <a:extLst>
              <a:ext uri="{FF2B5EF4-FFF2-40B4-BE49-F238E27FC236}">
                <a16:creationId xmlns:a16="http://schemas.microsoft.com/office/drawing/2014/main" id="{CCA9949A-DF22-4440-8FA9-2FB0BAE53D3B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457200" y="1244774"/>
            <a:ext cx="1078992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91382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38">
            <a:extLst>
              <a:ext uri="{FF2B5EF4-FFF2-40B4-BE49-F238E27FC236}">
                <a16:creationId xmlns:a16="http://schemas.microsoft.com/office/drawing/2014/main" id="{AC3F45B0-B2BF-42A4-856C-5F281ED6B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99" y="388845"/>
            <a:ext cx="11303999" cy="990001"/>
          </a:xfrm>
        </p:spPr>
        <p:txBody>
          <a:bodyPr/>
          <a:lstStyle/>
          <a:p>
            <a:r>
              <a:rPr lang="en-US"/>
              <a:t>Placeholde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524AF0-CAF2-42B7-B8E9-05C4EFB3BC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536AA5-2BB5-4EBD-9C3E-7855A024DC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</p:spPr>
        <p:txBody>
          <a:bodyPr/>
          <a:lstStyle/>
          <a:p>
            <a:r>
              <a:rPr lang="en-US"/>
              <a:t>© 2023 Copyright Genpact. All Rights Reserved.</a:t>
            </a:r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F6E3E04D-19E8-41DE-A585-30EEB1CD76B3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42799" y="1457999"/>
            <a:ext cx="7566882" cy="499111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2pPr marL="252000" indent="-25200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lang="en-US" sz="14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  <a:lvl3pPr marL="504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  <a:lvl4pPr marL="756000" indent="-252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1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GB" sz="1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A placeholder is a </a:t>
            </a:r>
            <a:r>
              <a:rPr lang="en-GB" sz="1600" b="1">
                <a:solidFill>
                  <a:schemeClr val="accent2"/>
                </a:solidFill>
              </a:rPr>
              <a:t>pre-formatted shape </a:t>
            </a:r>
            <a:r>
              <a:rPr lang="en-GB" sz="1600"/>
              <a:t>set up on </a:t>
            </a:r>
            <a:r>
              <a:rPr lang="en-GB" sz="1600" b="1">
                <a:solidFill>
                  <a:schemeClr val="accent1"/>
                </a:solidFill>
              </a:rPr>
              <a:t>slide layouts</a:t>
            </a:r>
            <a:r>
              <a:rPr lang="en-GB" sz="1600"/>
              <a:t>. Placeholders and their pre-set format, size and position make it easier to format slides consistently.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7EC3FCA7-29A4-4B26-8908-443DEC89A7CB}"/>
              </a:ext>
            </a:extLst>
          </p:cNvPr>
          <p:cNvSpPr txBox="1">
            <a:spLocks/>
          </p:cNvSpPr>
          <p:nvPr/>
        </p:nvSpPr>
        <p:spPr>
          <a:xfrm>
            <a:off x="442800" y="2181860"/>
            <a:ext cx="7084858" cy="3888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2pPr marL="252000" indent="-25200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lang="en-US" sz="14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  <a:lvl3pPr marL="504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  <a:lvl4pPr marL="756000" indent="-252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1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GB" sz="1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en-GB" b="1">
                <a:solidFill>
                  <a:schemeClr val="accent1"/>
                </a:solidFill>
              </a:rPr>
              <a:t>Text placeholders </a:t>
            </a:r>
            <a:r>
              <a:rPr lang="en-GB"/>
              <a:t>– can have different style levels set up. User the Increase/ decrease Indent tool to toggle through the various text style levels to easily apply Genpact style bullet levels. A useful keyboard shortcut is Alt, Shift,</a:t>
            </a:r>
            <a:r>
              <a:rPr lang="en-GB">
                <a:sym typeface="Wingdings 3" panose="05040102010807070707" pitchFamily="18" charset="2"/>
              </a:rPr>
              <a:t>, </a:t>
            </a:r>
            <a:endParaRPr lang="en-GB"/>
          </a:p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en-GB" b="1">
                <a:solidFill>
                  <a:schemeClr val="accent2"/>
                </a:solidFill>
              </a:rPr>
              <a:t>Table placeholders </a:t>
            </a:r>
            <a:r>
              <a:rPr lang="en-GB"/>
              <a:t>– using a table placeholder ensures that your table uses the full space available as a default</a:t>
            </a:r>
          </a:p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en-GB" b="1">
                <a:solidFill>
                  <a:schemeClr val="accent3"/>
                </a:solidFill>
              </a:rPr>
              <a:t>Chart placeholders </a:t>
            </a:r>
            <a:r>
              <a:rPr lang="en-GB"/>
              <a:t>– as with a table, the chart placeholders ensure your charts are </a:t>
            </a:r>
            <a:br>
              <a:rPr lang="en-GB"/>
            </a:br>
            <a:r>
              <a:rPr lang="en-GB"/>
              <a:t>sized consistently</a:t>
            </a:r>
          </a:p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en-GB" b="1">
                <a:solidFill>
                  <a:schemeClr val="accent1"/>
                </a:solidFill>
              </a:rPr>
              <a:t>Image/picture placeholders </a:t>
            </a:r>
            <a:r>
              <a:rPr lang="en-GB"/>
              <a:t>– these are useful to define the image shape, size and position. You can use the crop tool to manipulate the shape within the placeholder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2BEEC84E-23A6-444D-B902-49D88B1091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3340" y="1486903"/>
            <a:ext cx="3564000" cy="2004750"/>
          </a:xfrm>
          <a:prstGeom prst="rect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6417D42A-C251-4F60-B555-D930028628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82798" y="4115250"/>
            <a:ext cx="3564000" cy="2004750"/>
          </a:xfrm>
          <a:prstGeom prst="rect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3" name="Arrow: Right 32">
            <a:extLst>
              <a:ext uri="{FF2B5EF4-FFF2-40B4-BE49-F238E27FC236}">
                <a16:creationId xmlns:a16="http://schemas.microsoft.com/office/drawing/2014/main" id="{C03CD2EE-E402-4C25-A738-E549CB425D43}"/>
              </a:ext>
            </a:extLst>
          </p:cNvPr>
          <p:cNvSpPr/>
          <p:nvPr/>
        </p:nvSpPr>
        <p:spPr>
          <a:xfrm>
            <a:off x="7315200" y="2402395"/>
            <a:ext cx="1491916" cy="625997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5E2CE49F-1CAB-4184-9705-DCB27986BDB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100" r="50813"/>
          <a:stretch/>
        </p:blipFill>
        <p:spPr>
          <a:xfrm>
            <a:off x="9245022" y="2349548"/>
            <a:ext cx="1618549" cy="9743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5010877-822C-4335-A881-751FF4D6CE50}"/>
              </a:ext>
            </a:extLst>
          </p:cNvPr>
          <p:cNvSpPr/>
          <p:nvPr/>
        </p:nvSpPr>
        <p:spPr>
          <a:xfrm>
            <a:off x="9878798" y="2783360"/>
            <a:ext cx="339090" cy="171450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A679820-183B-44D3-A05A-85A9F57A0D26}"/>
              </a:ext>
            </a:extLst>
          </p:cNvPr>
          <p:cNvSpPr txBox="1"/>
          <p:nvPr/>
        </p:nvSpPr>
        <p:spPr>
          <a:xfrm>
            <a:off x="444000" y="4968000"/>
            <a:ext cx="7365056" cy="115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180000" rIns="108000" bIns="180000" rtlCol="0" anchor="ctr">
            <a:noAutofit/>
          </a:bodyPr>
          <a:lstStyle/>
          <a:p>
            <a:pPr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>
                <a:solidFill>
                  <a:schemeClr val="bg1"/>
                </a:solidFill>
              </a:rPr>
              <a:t>NOTE: When copying and pasting content and slides, sometimes your content will ‘jump’ into a different placeholder, eg, the main body bullets will suddenly appear in the top header placeholder. This is a result of slides having different numbers and types of placeholders. Your content won’t disappear, but it may just have been dropped into a different placeholder, so you can cut and paste it into the correct placeholder shape to correct the page</a:t>
            </a:r>
            <a:endParaRPr lang="en-US">
              <a:solidFill>
                <a:schemeClr val="bg1"/>
              </a:solidFill>
            </a:endParaRPr>
          </a:p>
        </p:txBody>
      </p:sp>
      <p:cxnSp>
        <p:nvCxnSpPr>
          <p:cNvPr id="17" name="Genpact Line">
            <a:extLst>
              <a:ext uri="{FF2B5EF4-FFF2-40B4-BE49-F238E27FC236}">
                <a16:creationId xmlns:a16="http://schemas.microsoft.com/office/drawing/2014/main" id="{9941A6A6-1FEA-4D5B-B37D-61886BD62253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457200" y="1244774"/>
            <a:ext cx="1078992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72529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82D0922-A343-4236-AB62-532B6DD6F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99" y="388845"/>
            <a:ext cx="11303999" cy="990001"/>
          </a:xfrm>
        </p:spPr>
        <p:txBody>
          <a:bodyPr>
            <a:noAutofit/>
          </a:bodyPr>
          <a:lstStyle/>
          <a:p>
            <a:r>
              <a:rPr lang="en-US"/>
              <a:t>User guide – text styles and bullet lists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1966FEC-D26B-4183-BDF4-821FAA3C0DB5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</p:spPr>
        <p:txBody>
          <a:bodyPr vert="horz"/>
          <a:lstStyle/>
          <a:p>
            <a:r>
              <a:rPr lang="en-US"/>
              <a:t>Text styles and bulleted lists have been built into all the text placeholders in the template.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A590AC-B593-4F57-AD6F-D07337FA4B3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7D1C40-4F91-D442-9B53-318FBDE6A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</p:spPr>
        <p:txBody>
          <a:bodyPr>
            <a:noAutofit/>
          </a:bodyPr>
          <a:lstStyle/>
          <a:p>
            <a:r>
              <a:rPr lang="en-US"/>
              <a:t>© 2023 Copyright Genpact. All Rights Reserved.</a:t>
            </a:r>
          </a:p>
        </p:txBody>
      </p:sp>
      <p:sp>
        <p:nvSpPr>
          <p:cNvPr id="39" name="Content Placeholder 9">
            <a:extLst>
              <a:ext uri="{FF2B5EF4-FFF2-40B4-BE49-F238E27FC236}">
                <a16:creationId xmlns:a16="http://schemas.microsoft.com/office/drawing/2014/main" id="{571E0E92-320F-4ABB-AF46-34EDA753E119}"/>
              </a:ext>
            </a:extLst>
          </p:cNvPr>
          <p:cNvSpPr txBox="1">
            <a:spLocks/>
          </p:cNvSpPr>
          <p:nvPr/>
        </p:nvSpPr>
        <p:spPr>
          <a:xfrm>
            <a:off x="442913" y="2088529"/>
            <a:ext cx="8222963" cy="38877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2pPr marL="252000" indent="-25200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lang="en-US" sz="14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  <a:lvl3pPr marL="504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  <a:lvl4pPr marL="756000" indent="-252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1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GB" sz="1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activate the bullet and other text styles:</a:t>
            </a:r>
          </a:p>
          <a:p>
            <a:pPr lvl="1">
              <a:spcBef>
                <a:spcPts val="600"/>
              </a:spcBef>
            </a:pPr>
            <a:r>
              <a:rPr lang="en-GB"/>
              <a:t>Insert a new slide by going to </a:t>
            </a:r>
            <a:r>
              <a:rPr lang="en-GB" b="1">
                <a:solidFill>
                  <a:schemeClr val="accent1"/>
                </a:solidFill>
              </a:rPr>
              <a:t>HOME – NEW SLIDE </a:t>
            </a:r>
            <a:r>
              <a:rPr lang="en-GB"/>
              <a:t>and selecting a layout type</a:t>
            </a:r>
          </a:p>
          <a:p>
            <a:pPr lvl="2"/>
            <a:r>
              <a:rPr lang="en-GB" sz="1400"/>
              <a:t>If the slide layout has a text or content placeholder, then 5 levels of text formats have been pre-set</a:t>
            </a:r>
          </a:p>
          <a:p>
            <a:pPr lvl="1"/>
            <a:endParaRPr lang="en-GB"/>
          </a:p>
          <a:p>
            <a:pPr lvl="1"/>
            <a:endParaRPr lang="en-GB"/>
          </a:p>
          <a:p>
            <a:pPr lvl="1"/>
            <a:endParaRPr lang="en-GB"/>
          </a:p>
          <a:p>
            <a:pPr lvl="1"/>
            <a:endParaRPr lang="en-GB"/>
          </a:p>
          <a:p>
            <a:pPr lvl="1"/>
            <a:endParaRPr lang="en-GB"/>
          </a:p>
          <a:p>
            <a:pPr lvl="1"/>
            <a:endParaRPr lang="en-GB"/>
          </a:p>
          <a:p>
            <a:pPr lvl="1"/>
            <a:r>
              <a:rPr lang="en-GB"/>
              <a:t>To activate the levels, use </a:t>
            </a:r>
            <a:r>
              <a:rPr lang="en-GB" b="1">
                <a:solidFill>
                  <a:schemeClr val="accent2"/>
                </a:solidFill>
              </a:rPr>
              <a:t>ALT, SHIFT </a:t>
            </a:r>
            <a:r>
              <a:rPr lang="en-GB"/>
              <a:t>and the </a:t>
            </a:r>
            <a:r>
              <a:rPr lang="en-GB" b="1">
                <a:solidFill>
                  <a:schemeClr val="accent2"/>
                </a:solidFill>
              </a:rPr>
              <a:t>LEFT AND RIGHT ARROW KEYS </a:t>
            </a:r>
            <a:br>
              <a:rPr lang="en-GB" b="1">
                <a:solidFill>
                  <a:schemeClr val="accent2"/>
                </a:solidFill>
              </a:rPr>
            </a:br>
            <a:r>
              <a:rPr lang="en-GB"/>
              <a:t>to toggle through the bullet and style levels</a:t>
            </a:r>
          </a:p>
          <a:p>
            <a:pPr lvl="1"/>
            <a:r>
              <a:rPr lang="en-GB"/>
              <a:t>The </a:t>
            </a:r>
            <a:r>
              <a:rPr lang="en-GB" b="1">
                <a:solidFill>
                  <a:schemeClr val="accent1"/>
                </a:solidFill>
              </a:rPr>
              <a:t>INCREASE / DECREASE LIST LEVEL </a:t>
            </a:r>
            <a:r>
              <a:rPr lang="en-GB"/>
              <a:t>buttons on the </a:t>
            </a:r>
            <a:r>
              <a:rPr lang="en-GB" b="1">
                <a:solidFill>
                  <a:schemeClr val="accent1"/>
                </a:solidFill>
              </a:rPr>
              <a:t>HOME</a:t>
            </a:r>
            <a:r>
              <a:rPr lang="en-GB"/>
              <a:t> toolbar can also be used 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C188833-C0BE-4EA5-AC2C-38BD962B6CD2}"/>
              </a:ext>
            </a:extLst>
          </p:cNvPr>
          <p:cNvGrpSpPr/>
          <p:nvPr/>
        </p:nvGrpSpPr>
        <p:grpSpPr>
          <a:xfrm>
            <a:off x="8135065" y="5137352"/>
            <a:ext cx="1618549" cy="974320"/>
            <a:chOff x="12358612" y="1437634"/>
            <a:chExt cx="1618549" cy="974320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6B58029B-0FCC-4201-9909-098087294A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5100" r="50813"/>
            <a:stretch/>
          </p:blipFill>
          <p:spPr>
            <a:xfrm>
              <a:off x="12358612" y="1437634"/>
              <a:ext cx="1618549" cy="97432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EE9B6908-8BBA-47E6-A15C-F84922B263B8}"/>
                </a:ext>
              </a:extLst>
            </p:cNvPr>
            <p:cNvSpPr/>
            <p:nvPr/>
          </p:nvSpPr>
          <p:spPr>
            <a:xfrm>
              <a:off x="12992388" y="1871446"/>
              <a:ext cx="339090" cy="17145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43" name="Content Placeholder 9">
            <a:extLst>
              <a:ext uri="{FF2B5EF4-FFF2-40B4-BE49-F238E27FC236}">
                <a16:creationId xmlns:a16="http://schemas.microsoft.com/office/drawing/2014/main" id="{E7BEBC67-C10C-49B9-B9A5-89122FD5FB03}"/>
              </a:ext>
            </a:extLst>
          </p:cNvPr>
          <p:cNvSpPr txBox="1">
            <a:spLocks/>
          </p:cNvSpPr>
          <p:nvPr/>
        </p:nvSpPr>
        <p:spPr>
          <a:xfrm>
            <a:off x="2435340" y="3101519"/>
            <a:ext cx="2804536" cy="1856434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vert="horz" lIns="144000" tIns="144000" rIns="144000" bIns="144000" rtlCol="0">
            <a:sp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2pPr marL="252000" indent="-25200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lang="en-US" sz="14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  <a:lvl3pPr marL="504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  <a:lvl4pPr marL="756000" indent="-252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1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GB" sz="1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Level 1 – Body text</a:t>
            </a:r>
          </a:p>
          <a:p>
            <a:pPr lvl="1"/>
            <a:r>
              <a:rPr lang="en-GB"/>
              <a:t>Level 2 – Bullet 1</a:t>
            </a:r>
          </a:p>
          <a:p>
            <a:pPr lvl="2"/>
            <a:r>
              <a:rPr lang="en-GB"/>
              <a:t>Level 3 – Bullet 2</a:t>
            </a:r>
          </a:p>
          <a:p>
            <a:pPr lvl="3"/>
            <a:r>
              <a:rPr lang="en-GB"/>
              <a:t>Level 4 – Bullet 3</a:t>
            </a:r>
          </a:p>
          <a:p>
            <a:pPr lvl="4"/>
            <a:r>
              <a:rPr lang="en-GB"/>
              <a:t>Level 5 – Body heading</a:t>
            </a: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44602F81-AEFE-4DF2-9B64-988E404FCBFA}"/>
              </a:ext>
            </a:extLst>
          </p:cNvPr>
          <p:cNvSpPr/>
          <p:nvPr/>
        </p:nvSpPr>
        <p:spPr>
          <a:xfrm rot="20638444">
            <a:off x="8039084" y="5482108"/>
            <a:ext cx="551090" cy="625997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8F6A8D3-D67A-4847-812B-6356C0E71F55}"/>
              </a:ext>
            </a:extLst>
          </p:cNvPr>
          <p:cNvSpPr txBox="1"/>
          <p:nvPr/>
        </p:nvSpPr>
        <p:spPr>
          <a:xfrm>
            <a:off x="9957008" y="2088529"/>
            <a:ext cx="1790991" cy="4049297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180000" rIns="108000" bIns="180000" rtlCol="0" anchor="t">
            <a:noAutofit/>
          </a:bodyPr>
          <a:lstStyle/>
          <a:p>
            <a:pPr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TOP TIP: </a:t>
            </a:r>
          </a:p>
          <a:p>
            <a:pPr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Clr>
                <a:schemeClr val="bg1"/>
              </a:buClr>
            </a:pPr>
            <a:r>
              <a:rPr lang="en-GB" sz="1400">
                <a:solidFill>
                  <a:schemeClr val="bg1"/>
                </a:solidFill>
              </a:rPr>
              <a:t>Copy bullet (and other text or shape formats) by using:</a:t>
            </a:r>
          </a:p>
          <a:p>
            <a:pPr marL="171450" indent="-171450">
              <a:lnSpc>
                <a:spcPct val="105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■"/>
            </a:pPr>
            <a:r>
              <a:rPr lang="en-GB" sz="1400" b="1">
                <a:solidFill>
                  <a:schemeClr val="bg1"/>
                </a:solidFill>
              </a:rPr>
              <a:t>CTRL, SHIFT C – </a:t>
            </a:r>
            <a:br>
              <a:rPr lang="en-GB" sz="1400" b="1">
                <a:solidFill>
                  <a:schemeClr val="bg1"/>
                </a:solidFill>
              </a:rPr>
            </a:br>
            <a:r>
              <a:rPr lang="en-GB" sz="1400" b="1">
                <a:solidFill>
                  <a:schemeClr val="bg1"/>
                </a:solidFill>
              </a:rPr>
              <a:t>to copy formats</a:t>
            </a:r>
          </a:p>
          <a:p>
            <a:pPr>
              <a:lnSpc>
                <a:spcPct val="105000"/>
              </a:lnSpc>
              <a:spcBef>
                <a:spcPts val="1200"/>
              </a:spcBef>
              <a:spcAft>
                <a:spcPts val="600"/>
              </a:spcAft>
              <a:buClr>
                <a:schemeClr val="bg1"/>
              </a:buClr>
            </a:pPr>
            <a:r>
              <a:rPr lang="en-GB" sz="1400">
                <a:solidFill>
                  <a:schemeClr val="bg1"/>
                </a:solidFill>
              </a:rPr>
              <a:t>Then use </a:t>
            </a:r>
          </a:p>
          <a:p>
            <a:pPr marL="171450" indent="-17145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■"/>
            </a:pPr>
            <a:r>
              <a:rPr lang="en-GB" sz="1400" b="1">
                <a:solidFill>
                  <a:schemeClr val="bg1"/>
                </a:solidFill>
              </a:rPr>
              <a:t>CTRL SHIFT V –</a:t>
            </a:r>
            <a:br>
              <a:rPr lang="en-GB" sz="1400" b="1">
                <a:solidFill>
                  <a:schemeClr val="bg1"/>
                </a:solidFill>
              </a:rPr>
            </a:br>
            <a:r>
              <a:rPr lang="en-GB" sz="1400" b="1">
                <a:solidFill>
                  <a:schemeClr val="bg1"/>
                </a:solidFill>
              </a:rPr>
              <a:t> to paste formats</a:t>
            </a:r>
            <a:endParaRPr lang="en-US" sz="2000" b="1">
              <a:solidFill>
                <a:schemeClr val="bg1"/>
              </a:solidFill>
            </a:endParaRPr>
          </a:p>
        </p:txBody>
      </p:sp>
      <p:cxnSp>
        <p:nvCxnSpPr>
          <p:cNvPr id="18" name="Genpact Line">
            <a:extLst>
              <a:ext uri="{FF2B5EF4-FFF2-40B4-BE49-F238E27FC236}">
                <a16:creationId xmlns:a16="http://schemas.microsoft.com/office/drawing/2014/main" id="{6872768C-0ED9-46D4-B0C3-46F47B8DA43D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457200" y="1244774"/>
            <a:ext cx="1078992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729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E0B627F-05E6-4F15-8598-741EF8C665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2799" y="1457999"/>
            <a:ext cx="11288344" cy="276998"/>
          </a:xfrm>
        </p:spPr>
        <p:txBody>
          <a:bodyPr/>
          <a:lstStyle/>
          <a:p>
            <a:r>
              <a:rPr lang="en-US"/>
              <a:t>Use the Header &amp; Footer tools to update the copyright information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7C405A-2931-4103-BA13-3FD1E662CF9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76D33E6-DBFF-4924-B3F4-6167EE41C4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99" y="388845"/>
            <a:ext cx="11303999" cy="990001"/>
          </a:xfrm>
        </p:spPr>
        <p:txBody>
          <a:bodyPr/>
          <a:lstStyle/>
          <a:p>
            <a:r>
              <a:rPr lang="en-US"/>
              <a:t>Footer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188CA9-86C0-4EC5-B93D-C494D05997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</p:spPr>
        <p:txBody>
          <a:bodyPr/>
          <a:lstStyle/>
          <a:p>
            <a:r>
              <a:rPr lang="en-US"/>
              <a:t>© 2023 Copyright Genpact. All Rights Reserved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077226-70AA-4DCA-9C05-79C2F41C27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2799" y="2249827"/>
            <a:ext cx="11303999" cy="3888000"/>
          </a:xfrm>
        </p:spPr>
        <p:txBody>
          <a:bodyPr/>
          <a:lstStyle/>
          <a:p>
            <a:r>
              <a:rPr lang="en-US"/>
              <a:t> Go to Insert – Header &amp; Foot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BA0400F-D1A3-4237-BD21-7EFFC45E99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247" y="3046543"/>
            <a:ext cx="4346278" cy="1847167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4B9BF97-054C-4231-B281-E71C87C7406A}"/>
              </a:ext>
            </a:extLst>
          </p:cNvPr>
          <p:cNvSpPr/>
          <p:nvPr/>
        </p:nvSpPr>
        <p:spPr>
          <a:xfrm>
            <a:off x="1423120" y="3223083"/>
            <a:ext cx="724852" cy="110121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D290A6F-C69F-45F1-83AF-C9EB92E880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2114" y="2296496"/>
            <a:ext cx="4799082" cy="334726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1D71BCA2-B3D5-4855-B288-4004C307EA38}"/>
              </a:ext>
            </a:extLst>
          </p:cNvPr>
          <p:cNvGrpSpPr/>
          <p:nvPr/>
        </p:nvGrpSpPr>
        <p:grpSpPr>
          <a:xfrm>
            <a:off x="5390535" y="3335184"/>
            <a:ext cx="1128568" cy="1269884"/>
            <a:chOff x="5504397" y="2849156"/>
            <a:chExt cx="406805" cy="429940"/>
          </a:xfrm>
        </p:grpSpPr>
        <p:sp>
          <p:nvSpPr>
            <p:cNvPr id="18" name="arrow (2)">
              <a:extLst>
                <a:ext uri="{FF2B5EF4-FFF2-40B4-BE49-F238E27FC236}">
                  <a16:creationId xmlns:a16="http://schemas.microsoft.com/office/drawing/2014/main" id="{EDE951F7-D6B6-4646-8925-520C51662BBA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 rot="5400000">
              <a:off x="5549002" y="2916896"/>
              <a:ext cx="422972" cy="301428"/>
            </a:xfrm>
            <a:custGeom>
              <a:avLst/>
              <a:gdLst>
                <a:gd name="connsiteX0" fmla="*/ 0 w 821994"/>
                <a:gd name="connsiteY0" fmla="*/ 533400 h 533400"/>
                <a:gd name="connsiteX1" fmla="*/ 410997 w 821994"/>
                <a:gd name="connsiteY1" fmla="*/ 0 h 533400"/>
                <a:gd name="connsiteX2" fmla="*/ 821994 w 821994"/>
                <a:gd name="connsiteY2" fmla="*/ 533400 h 533400"/>
                <a:gd name="connsiteX3" fmla="*/ 0 w 821994"/>
                <a:gd name="connsiteY3" fmla="*/ 533400 h 533400"/>
                <a:gd name="connsiteX0" fmla="*/ 0 w 821994"/>
                <a:gd name="connsiteY0" fmla="*/ 585788 h 585788"/>
                <a:gd name="connsiteX1" fmla="*/ 410997 w 821994"/>
                <a:gd name="connsiteY1" fmla="*/ 0 h 585788"/>
                <a:gd name="connsiteX2" fmla="*/ 821994 w 821994"/>
                <a:gd name="connsiteY2" fmla="*/ 585788 h 585788"/>
                <a:gd name="connsiteX3" fmla="*/ 0 w 821994"/>
                <a:gd name="connsiteY3" fmla="*/ 585788 h 585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1994" h="585788">
                  <a:moveTo>
                    <a:pt x="0" y="585788"/>
                  </a:moveTo>
                  <a:lnTo>
                    <a:pt x="410997" y="0"/>
                  </a:lnTo>
                  <a:lnTo>
                    <a:pt x="821994" y="585788"/>
                  </a:lnTo>
                  <a:lnTo>
                    <a:pt x="0" y="585788"/>
                  </a:lnTo>
                  <a:close/>
                </a:path>
              </a:pathLst>
            </a:custGeom>
            <a:gradFill>
              <a:gsLst>
                <a:gs pos="20000">
                  <a:schemeClr val="accent2"/>
                </a:gs>
                <a:gs pos="92000">
                  <a:schemeClr val="accent2">
                    <a:alpha val="0"/>
                  </a:schemeClr>
                </a:gs>
              </a:gsLst>
              <a:lin ang="9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n-ea"/>
                <a:cs typeface="+mn-cs"/>
              </a:endParaRPr>
            </a:p>
          </p:txBody>
        </p:sp>
        <p:sp>
          <p:nvSpPr>
            <p:cNvPr id="19" name="arrow (2)">
              <a:extLst>
                <a:ext uri="{FF2B5EF4-FFF2-40B4-BE49-F238E27FC236}">
                  <a16:creationId xmlns:a16="http://schemas.microsoft.com/office/drawing/2014/main" id="{298D8A0C-3C9E-40F5-9AFA-99FCF10E7EAD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5400000">
              <a:off x="5443625" y="2909928"/>
              <a:ext cx="422972" cy="301428"/>
            </a:xfrm>
            <a:custGeom>
              <a:avLst/>
              <a:gdLst>
                <a:gd name="connsiteX0" fmla="*/ 0 w 821994"/>
                <a:gd name="connsiteY0" fmla="*/ 533400 h 533400"/>
                <a:gd name="connsiteX1" fmla="*/ 410997 w 821994"/>
                <a:gd name="connsiteY1" fmla="*/ 0 h 533400"/>
                <a:gd name="connsiteX2" fmla="*/ 821994 w 821994"/>
                <a:gd name="connsiteY2" fmla="*/ 533400 h 533400"/>
                <a:gd name="connsiteX3" fmla="*/ 0 w 821994"/>
                <a:gd name="connsiteY3" fmla="*/ 533400 h 533400"/>
                <a:gd name="connsiteX0" fmla="*/ 0 w 821994"/>
                <a:gd name="connsiteY0" fmla="*/ 585788 h 585788"/>
                <a:gd name="connsiteX1" fmla="*/ 410997 w 821994"/>
                <a:gd name="connsiteY1" fmla="*/ 0 h 585788"/>
                <a:gd name="connsiteX2" fmla="*/ 821994 w 821994"/>
                <a:gd name="connsiteY2" fmla="*/ 585788 h 585788"/>
                <a:gd name="connsiteX3" fmla="*/ 0 w 821994"/>
                <a:gd name="connsiteY3" fmla="*/ 585788 h 585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1994" h="585788">
                  <a:moveTo>
                    <a:pt x="0" y="585788"/>
                  </a:moveTo>
                  <a:lnTo>
                    <a:pt x="410997" y="0"/>
                  </a:lnTo>
                  <a:lnTo>
                    <a:pt x="821994" y="585788"/>
                  </a:lnTo>
                  <a:lnTo>
                    <a:pt x="0" y="585788"/>
                  </a:lnTo>
                  <a:close/>
                </a:path>
              </a:pathLst>
            </a:custGeom>
            <a:gradFill>
              <a:gsLst>
                <a:gs pos="20000">
                  <a:schemeClr val="accent1"/>
                </a:gs>
                <a:gs pos="92000">
                  <a:schemeClr val="accent1">
                    <a:alpha val="0"/>
                  </a:schemeClr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n-ea"/>
                <a:cs typeface="+mn-cs"/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740D9F42-D5C3-466B-A866-2264587A1D30}"/>
              </a:ext>
            </a:extLst>
          </p:cNvPr>
          <p:cNvSpPr/>
          <p:nvPr/>
        </p:nvSpPr>
        <p:spPr>
          <a:xfrm>
            <a:off x="7152588" y="4415277"/>
            <a:ext cx="2454707" cy="443236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19069DD-3B3E-49BD-A22E-249B94E97C30}"/>
              </a:ext>
            </a:extLst>
          </p:cNvPr>
          <p:cNvSpPr/>
          <p:nvPr/>
        </p:nvSpPr>
        <p:spPr>
          <a:xfrm>
            <a:off x="10363200" y="5295899"/>
            <a:ext cx="707135" cy="362725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8027CE-1FAA-4CF6-B47E-195F0079C17B}"/>
              </a:ext>
            </a:extLst>
          </p:cNvPr>
          <p:cNvSpPr/>
          <p:nvPr/>
        </p:nvSpPr>
        <p:spPr>
          <a:xfrm>
            <a:off x="623888" y="6316461"/>
            <a:ext cx="2454707" cy="443236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Genpact Line">
            <a:extLst>
              <a:ext uri="{FF2B5EF4-FFF2-40B4-BE49-F238E27FC236}">
                <a16:creationId xmlns:a16="http://schemas.microsoft.com/office/drawing/2014/main" id="{446109AC-AB0D-4D45-956D-28109E8A3ADD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457200" y="1244774"/>
            <a:ext cx="1078992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05514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418F601-F83C-48BD-9403-EA5C098E7DB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40661" y="1448065"/>
            <a:ext cx="3001935" cy="1692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779E10C-3760-4657-AAB0-A86016B5DF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99" y="388845"/>
            <a:ext cx="11303999" cy="990001"/>
          </a:xfrm>
        </p:spPr>
        <p:txBody>
          <a:bodyPr>
            <a:noAutofit/>
          </a:bodyPr>
          <a:lstStyle/>
          <a:p>
            <a:r>
              <a:rPr lang="en-US"/>
              <a:t>User guide – changing an image on cover/divider slide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5B12BB2-979D-46BB-A743-4771ED547C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7D1C40-4F91-D442-9B53-318FBDE6A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</p:spPr>
        <p:txBody>
          <a:bodyPr>
            <a:noAutofit/>
          </a:bodyPr>
          <a:lstStyle/>
          <a:p>
            <a:r>
              <a:rPr lang="en-US"/>
              <a:t>© 2023 Copyright Genpact. All Rights Reserved.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0D61F2A-06F1-469C-94FF-3B9EFA1FE2D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799" y="1436289"/>
            <a:ext cx="3004164" cy="1692000"/>
          </a:xfrm>
          <a:prstGeom prst="rect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Text Placeholder 79">
            <a:extLst>
              <a:ext uri="{FF2B5EF4-FFF2-40B4-BE49-F238E27FC236}">
                <a16:creationId xmlns:a16="http://schemas.microsoft.com/office/drawing/2014/main" id="{783935B5-FA91-45C7-A78D-F92CD5ACABCD}"/>
              </a:ext>
            </a:extLst>
          </p:cNvPr>
          <p:cNvSpPr txBox="1">
            <a:spLocks/>
          </p:cNvSpPr>
          <p:nvPr/>
        </p:nvSpPr>
        <p:spPr>
          <a:xfrm>
            <a:off x="5169566" y="1542530"/>
            <a:ext cx="1440000" cy="1938992"/>
          </a:xfrm>
          <a:prstGeom prst="rect">
            <a:avLst/>
          </a:prstGeom>
        </p:spPr>
        <p:txBody>
          <a:bodyPr vert="horz" wrap="square" lIns="7200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2pPr marL="2667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US" sz="1200" kern="120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  <a:lvl3pPr marL="866775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0"/>
              </a:buBlip>
              <a:defRPr lang="en-US" sz="12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r>
              <a:rPr lang="en-US" sz="1400">
                <a:solidFill>
                  <a:schemeClr val="tx2"/>
                </a:solidFill>
              </a:rPr>
              <a:t>Insert a slide layout and click on the picture placeholder to insert a new image from your file locations or downloaded from the brand portal.</a:t>
            </a:r>
          </a:p>
        </p:txBody>
      </p:sp>
      <p:sp>
        <p:nvSpPr>
          <p:cNvPr id="27" name="Text Placeholder 79">
            <a:extLst>
              <a:ext uri="{FF2B5EF4-FFF2-40B4-BE49-F238E27FC236}">
                <a16:creationId xmlns:a16="http://schemas.microsoft.com/office/drawing/2014/main" id="{835CFCDD-8DAC-47DF-9213-664E63DD6198}"/>
              </a:ext>
            </a:extLst>
          </p:cNvPr>
          <p:cNvSpPr txBox="1">
            <a:spLocks/>
          </p:cNvSpPr>
          <p:nvPr/>
        </p:nvSpPr>
        <p:spPr>
          <a:xfrm>
            <a:off x="3702250" y="4422674"/>
            <a:ext cx="2124000" cy="1846659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2pPr marL="2667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US" sz="1200" kern="120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  <a:lvl3pPr marL="866775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0"/>
              </a:buBlip>
              <a:defRPr lang="en-US" sz="12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  <a:buClrTx/>
            </a:pPr>
            <a:r>
              <a:rPr lang="en-US" sz="1300">
                <a:solidFill>
                  <a:schemeClr val="tx2"/>
                </a:solidFill>
              </a:rPr>
              <a:t>To apply the fade shapes, you will first need to copy them from the master slides.  </a:t>
            </a:r>
          </a:p>
          <a:p>
            <a:pPr>
              <a:spcBef>
                <a:spcPts val="300"/>
              </a:spcBef>
              <a:spcAft>
                <a:spcPts val="300"/>
              </a:spcAft>
              <a:buClrTx/>
            </a:pPr>
            <a:r>
              <a:rPr lang="en-US" sz="1300">
                <a:solidFill>
                  <a:schemeClr val="tx2"/>
                </a:solidFill>
              </a:rPr>
              <a:t>To do so, got to </a:t>
            </a:r>
            <a:r>
              <a:rPr lang="en-US" sz="1300" b="1">
                <a:solidFill>
                  <a:schemeClr val="accent3"/>
                </a:solidFill>
              </a:rPr>
              <a:t>View – Slide Master </a:t>
            </a:r>
            <a:r>
              <a:rPr lang="en-US" sz="1300">
                <a:solidFill>
                  <a:schemeClr val="tx2"/>
                </a:solidFill>
              </a:rPr>
              <a:t>and copy (CTRL C) the shapes.</a:t>
            </a:r>
          </a:p>
          <a:p>
            <a:pPr>
              <a:spcBef>
                <a:spcPts val="300"/>
              </a:spcBef>
              <a:spcAft>
                <a:spcPts val="300"/>
              </a:spcAft>
              <a:buClrTx/>
            </a:pPr>
            <a:r>
              <a:rPr lang="en-US" sz="1300">
                <a:solidFill>
                  <a:schemeClr val="tx2"/>
                </a:solidFill>
              </a:rPr>
              <a:t>Then click on </a:t>
            </a:r>
            <a:r>
              <a:rPr lang="en-US" sz="1300" b="1">
                <a:solidFill>
                  <a:schemeClr val="accent3"/>
                </a:solidFill>
              </a:rPr>
              <a:t>Close </a:t>
            </a:r>
            <a:br>
              <a:rPr lang="en-US" sz="1300" b="1">
                <a:solidFill>
                  <a:schemeClr val="accent3"/>
                </a:solidFill>
              </a:rPr>
            </a:br>
            <a:r>
              <a:rPr lang="en-US" sz="1300" b="1">
                <a:solidFill>
                  <a:schemeClr val="accent3"/>
                </a:solidFill>
              </a:rPr>
              <a:t>Master View.</a:t>
            </a:r>
          </a:p>
        </p:txBody>
      </p:sp>
      <p:sp>
        <p:nvSpPr>
          <p:cNvPr id="29" name="Text Placeholder 79">
            <a:extLst>
              <a:ext uri="{FF2B5EF4-FFF2-40B4-BE49-F238E27FC236}">
                <a16:creationId xmlns:a16="http://schemas.microsoft.com/office/drawing/2014/main" id="{D4EFF2D5-BC54-4C0E-AB69-994396DAF07F}"/>
              </a:ext>
            </a:extLst>
          </p:cNvPr>
          <p:cNvSpPr txBox="1">
            <a:spLocks/>
          </p:cNvSpPr>
          <p:nvPr/>
        </p:nvSpPr>
        <p:spPr>
          <a:xfrm>
            <a:off x="10084770" y="4381448"/>
            <a:ext cx="1639187" cy="892552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2pPr marL="2667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US" sz="1200" kern="120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  <a:lvl3pPr marL="866775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0"/>
              </a:buBlip>
              <a:defRPr lang="en-US" sz="12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r>
              <a:rPr lang="en-US" sz="1300">
                <a:solidFill>
                  <a:schemeClr val="tx2"/>
                </a:solidFill>
              </a:rPr>
              <a:t>Finally, back at the live slide, paste the fade shapes over the image (CTRL V).</a:t>
            </a:r>
          </a:p>
        </p:txBody>
      </p:sp>
      <p:sp>
        <p:nvSpPr>
          <p:cNvPr id="37" name="Text Placeholder 79">
            <a:extLst>
              <a:ext uri="{FF2B5EF4-FFF2-40B4-BE49-F238E27FC236}">
                <a16:creationId xmlns:a16="http://schemas.microsoft.com/office/drawing/2014/main" id="{5BB3A92C-27E6-42B4-83A4-156605A8D4A2}"/>
              </a:ext>
            </a:extLst>
          </p:cNvPr>
          <p:cNvSpPr txBox="1">
            <a:spLocks/>
          </p:cNvSpPr>
          <p:nvPr/>
        </p:nvSpPr>
        <p:spPr>
          <a:xfrm>
            <a:off x="10639753" y="1542530"/>
            <a:ext cx="1108246" cy="1492716"/>
          </a:xfrm>
          <a:prstGeom prst="rect">
            <a:avLst/>
          </a:prstGeom>
        </p:spPr>
        <p:txBody>
          <a:bodyPr vert="horz" lIns="0" tIns="45720" rIns="0" bIns="4572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2pPr marL="2667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US" sz="1200" kern="120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  <a:lvl3pPr marL="866775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0"/>
              </a:buBlip>
              <a:defRPr lang="en-US" sz="12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r>
              <a:rPr lang="en-US" sz="1300">
                <a:solidFill>
                  <a:schemeClr val="tx2"/>
                </a:solidFill>
              </a:rPr>
              <a:t> If required, use the </a:t>
            </a:r>
            <a:r>
              <a:rPr lang="en-US" sz="1300">
                <a:solidFill>
                  <a:schemeClr val="accent1"/>
                </a:solidFill>
              </a:rPr>
              <a:t>Picture Format – Crop </a:t>
            </a:r>
            <a:r>
              <a:rPr lang="en-US" sz="1300">
                <a:solidFill>
                  <a:schemeClr val="tx2"/>
                </a:solidFill>
              </a:rPr>
              <a:t>tool to position and size the image within the frame.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E046C81-9FCE-4991-81A5-82A6BE5FB6EA}"/>
              </a:ext>
            </a:extLst>
          </p:cNvPr>
          <p:cNvSpPr/>
          <p:nvPr/>
        </p:nvSpPr>
        <p:spPr>
          <a:xfrm>
            <a:off x="9642585" y="1525500"/>
            <a:ext cx="238012" cy="238012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E76EECA-C17A-42CF-9C67-F12E1578C59D}"/>
              </a:ext>
            </a:extLst>
          </p:cNvPr>
          <p:cNvCxnSpPr>
            <a:cxnSpLocks/>
            <a:endCxn id="38" idx="5"/>
          </p:cNvCxnSpPr>
          <p:nvPr/>
        </p:nvCxnSpPr>
        <p:spPr>
          <a:xfrm flipH="1" flipV="1">
            <a:off x="9845741" y="1728656"/>
            <a:ext cx="626680" cy="4948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1FD4933D-75B6-416F-8261-476A9B3B1D38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2071799" y="2009629"/>
            <a:ext cx="3006000" cy="1692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7" name="Freeform 25">
            <a:extLst>
              <a:ext uri="{FF2B5EF4-FFF2-40B4-BE49-F238E27FC236}">
                <a16:creationId xmlns:a16="http://schemas.microsoft.com/office/drawing/2014/main" id="{AA7CB4A9-F30A-407A-8575-1ACC29FF8F3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799613" y="1436289"/>
            <a:ext cx="335817" cy="468000"/>
          </a:xfrm>
          <a:custGeom>
            <a:avLst/>
            <a:gdLst>
              <a:gd name="connsiteX0" fmla="*/ 0 w 1204734"/>
              <a:gd name="connsiteY0" fmla="*/ 427296 h 1678939"/>
              <a:gd name="connsiteX1" fmla="*/ 606981 w 1204734"/>
              <a:gd name="connsiteY1" fmla="*/ 0 h 1678939"/>
              <a:gd name="connsiteX2" fmla="*/ 1212168 w 1204734"/>
              <a:gd name="connsiteY2" fmla="*/ 427296 h 1678939"/>
              <a:gd name="connsiteX3" fmla="*/ 1212168 w 1204734"/>
              <a:gd name="connsiteY3" fmla="*/ 1267279 h 1678939"/>
              <a:gd name="connsiteX4" fmla="*/ 606084 w 1204734"/>
              <a:gd name="connsiteY4" fmla="*/ 1679708 h 1678939"/>
              <a:gd name="connsiteX5" fmla="*/ 0 w 1204734"/>
              <a:gd name="connsiteY5" fmla="*/ 1262280 h 1678939"/>
              <a:gd name="connsiteX6" fmla="*/ 0 w 1204734"/>
              <a:gd name="connsiteY6" fmla="*/ 427296 h 1678939"/>
              <a:gd name="connsiteX7" fmla="*/ 0 w 1204734"/>
              <a:gd name="connsiteY7" fmla="*/ 427296 h 1678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4734" h="1678939">
                <a:moveTo>
                  <a:pt x="0" y="427296"/>
                </a:moveTo>
                <a:lnTo>
                  <a:pt x="606981" y="0"/>
                </a:lnTo>
                <a:lnTo>
                  <a:pt x="1212168" y="427296"/>
                </a:lnTo>
                <a:lnTo>
                  <a:pt x="1212168" y="1267279"/>
                </a:lnTo>
                <a:lnTo>
                  <a:pt x="606084" y="1679708"/>
                </a:lnTo>
                <a:lnTo>
                  <a:pt x="0" y="1262280"/>
                </a:lnTo>
                <a:lnTo>
                  <a:pt x="0" y="427296"/>
                </a:lnTo>
                <a:lnTo>
                  <a:pt x="0" y="427296"/>
                </a:lnTo>
                <a:close/>
              </a:path>
            </a:pathLst>
          </a:custGeom>
          <a:solidFill>
            <a:schemeClr val="accent1"/>
          </a:solidFill>
          <a:ln w="13168" cap="flat">
            <a:solidFill>
              <a:schemeClr val="bg1"/>
            </a:solidFill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93" name="Freeform 25">
            <a:extLst>
              <a:ext uri="{FF2B5EF4-FFF2-40B4-BE49-F238E27FC236}">
                <a16:creationId xmlns:a16="http://schemas.microsoft.com/office/drawing/2014/main" id="{A6AFE52F-8776-4963-8713-4927D2D58335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256540" y="1436289"/>
            <a:ext cx="335817" cy="468000"/>
          </a:xfrm>
          <a:custGeom>
            <a:avLst/>
            <a:gdLst>
              <a:gd name="connsiteX0" fmla="*/ 0 w 1204734"/>
              <a:gd name="connsiteY0" fmla="*/ 427296 h 1678939"/>
              <a:gd name="connsiteX1" fmla="*/ 606981 w 1204734"/>
              <a:gd name="connsiteY1" fmla="*/ 0 h 1678939"/>
              <a:gd name="connsiteX2" fmla="*/ 1212168 w 1204734"/>
              <a:gd name="connsiteY2" fmla="*/ 427296 h 1678939"/>
              <a:gd name="connsiteX3" fmla="*/ 1212168 w 1204734"/>
              <a:gd name="connsiteY3" fmla="*/ 1267279 h 1678939"/>
              <a:gd name="connsiteX4" fmla="*/ 606084 w 1204734"/>
              <a:gd name="connsiteY4" fmla="*/ 1679708 h 1678939"/>
              <a:gd name="connsiteX5" fmla="*/ 0 w 1204734"/>
              <a:gd name="connsiteY5" fmla="*/ 1262280 h 1678939"/>
              <a:gd name="connsiteX6" fmla="*/ 0 w 1204734"/>
              <a:gd name="connsiteY6" fmla="*/ 427296 h 1678939"/>
              <a:gd name="connsiteX7" fmla="*/ 0 w 1204734"/>
              <a:gd name="connsiteY7" fmla="*/ 427296 h 1678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4734" h="1678939">
                <a:moveTo>
                  <a:pt x="0" y="427296"/>
                </a:moveTo>
                <a:lnTo>
                  <a:pt x="606981" y="0"/>
                </a:lnTo>
                <a:lnTo>
                  <a:pt x="1212168" y="427296"/>
                </a:lnTo>
                <a:lnTo>
                  <a:pt x="1212168" y="1267279"/>
                </a:lnTo>
                <a:lnTo>
                  <a:pt x="606084" y="1679708"/>
                </a:lnTo>
                <a:lnTo>
                  <a:pt x="0" y="1262280"/>
                </a:lnTo>
                <a:lnTo>
                  <a:pt x="0" y="427296"/>
                </a:lnTo>
                <a:lnTo>
                  <a:pt x="0" y="427296"/>
                </a:lnTo>
                <a:close/>
              </a:path>
            </a:pathLst>
          </a:custGeom>
          <a:solidFill>
            <a:schemeClr val="accent3"/>
          </a:solidFill>
          <a:ln w="13168" cap="flat">
            <a:solidFill>
              <a:schemeClr val="bg1"/>
            </a:solidFill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D35B027E-B863-497F-9EAD-A1AB8B9AFEF1}"/>
              </a:ext>
            </a:extLst>
          </p:cNvPr>
          <p:cNvSpPr/>
          <p:nvPr/>
        </p:nvSpPr>
        <p:spPr>
          <a:xfrm>
            <a:off x="8815990" y="1843997"/>
            <a:ext cx="238012" cy="238012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304CE393-C23D-404D-81AE-A92852544034}"/>
              </a:ext>
            </a:extLst>
          </p:cNvPr>
          <p:cNvSpPr/>
          <p:nvPr/>
        </p:nvSpPr>
        <p:spPr>
          <a:xfrm>
            <a:off x="8815990" y="2358935"/>
            <a:ext cx="238012" cy="238012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3" name="Picture 102">
            <a:extLst>
              <a:ext uri="{FF2B5EF4-FFF2-40B4-BE49-F238E27FC236}">
                <a16:creationId xmlns:a16="http://schemas.microsoft.com/office/drawing/2014/main" id="{9CDBD375-02CF-4952-AA13-780B854A745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3448" t="1857" r="3647" b="1437"/>
          <a:stretch/>
        </p:blipFill>
        <p:spPr>
          <a:xfrm>
            <a:off x="529435" y="4428000"/>
            <a:ext cx="3006000" cy="1692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434A656D-8943-4E1C-A0FF-E4FA2E38F767}"/>
              </a:ext>
            </a:extLst>
          </p:cNvPr>
          <p:cNvSpPr/>
          <p:nvPr/>
        </p:nvSpPr>
        <p:spPr>
          <a:xfrm>
            <a:off x="784562" y="4513184"/>
            <a:ext cx="237600" cy="237600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Freeform 25">
            <a:extLst>
              <a:ext uri="{FF2B5EF4-FFF2-40B4-BE49-F238E27FC236}">
                <a16:creationId xmlns:a16="http://schemas.microsoft.com/office/drawing/2014/main" id="{38A347F6-7241-43A2-A725-9FB98C2C0B9A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163749" y="4224674"/>
            <a:ext cx="335817" cy="468000"/>
          </a:xfrm>
          <a:custGeom>
            <a:avLst/>
            <a:gdLst>
              <a:gd name="connsiteX0" fmla="*/ 0 w 1204734"/>
              <a:gd name="connsiteY0" fmla="*/ 427296 h 1678939"/>
              <a:gd name="connsiteX1" fmla="*/ 606981 w 1204734"/>
              <a:gd name="connsiteY1" fmla="*/ 0 h 1678939"/>
              <a:gd name="connsiteX2" fmla="*/ 1212168 w 1204734"/>
              <a:gd name="connsiteY2" fmla="*/ 427296 h 1678939"/>
              <a:gd name="connsiteX3" fmla="*/ 1212168 w 1204734"/>
              <a:gd name="connsiteY3" fmla="*/ 1267279 h 1678939"/>
              <a:gd name="connsiteX4" fmla="*/ 606084 w 1204734"/>
              <a:gd name="connsiteY4" fmla="*/ 1679708 h 1678939"/>
              <a:gd name="connsiteX5" fmla="*/ 0 w 1204734"/>
              <a:gd name="connsiteY5" fmla="*/ 1262280 h 1678939"/>
              <a:gd name="connsiteX6" fmla="*/ 0 w 1204734"/>
              <a:gd name="connsiteY6" fmla="*/ 427296 h 1678939"/>
              <a:gd name="connsiteX7" fmla="*/ 0 w 1204734"/>
              <a:gd name="connsiteY7" fmla="*/ 427296 h 1678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4734" h="1678939">
                <a:moveTo>
                  <a:pt x="0" y="427296"/>
                </a:moveTo>
                <a:lnTo>
                  <a:pt x="606981" y="0"/>
                </a:lnTo>
                <a:lnTo>
                  <a:pt x="1212168" y="427296"/>
                </a:lnTo>
                <a:lnTo>
                  <a:pt x="1212168" y="1267279"/>
                </a:lnTo>
                <a:lnTo>
                  <a:pt x="606084" y="1679708"/>
                </a:lnTo>
                <a:lnTo>
                  <a:pt x="0" y="1262280"/>
                </a:lnTo>
                <a:lnTo>
                  <a:pt x="0" y="427296"/>
                </a:lnTo>
                <a:lnTo>
                  <a:pt x="0" y="427296"/>
                </a:lnTo>
                <a:close/>
              </a:path>
            </a:pathLst>
          </a:custGeom>
          <a:solidFill>
            <a:schemeClr val="accent2"/>
          </a:solidFill>
          <a:ln w="13168" cap="flat">
            <a:solidFill>
              <a:schemeClr val="bg1"/>
            </a:solidFill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7133C45-24A1-4A03-A18E-7A788BFE4073}"/>
              </a:ext>
            </a:extLst>
          </p:cNvPr>
          <p:cNvSpPr/>
          <p:nvPr/>
        </p:nvSpPr>
        <p:spPr>
          <a:xfrm>
            <a:off x="2018670" y="4513184"/>
            <a:ext cx="237600" cy="237600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7" name="Picture 106">
            <a:extLst>
              <a:ext uri="{FF2B5EF4-FFF2-40B4-BE49-F238E27FC236}">
                <a16:creationId xmlns:a16="http://schemas.microsoft.com/office/drawing/2014/main" id="{4D0821E4-11FD-40B1-91CA-A7D7906A3EF0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4798" y="3856655"/>
            <a:ext cx="3886342" cy="2263345"/>
          </a:xfrm>
          <a:prstGeom prst="rect">
            <a:avLst/>
          </a:prstGeom>
        </p:spPr>
      </p:pic>
      <p:sp>
        <p:nvSpPr>
          <p:cNvPr id="108" name="Freeform 25">
            <a:extLst>
              <a:ext uri="{FF2B5EF4-FFF2-40B4-BE49-F238E27FC236}">
                <a16:creationId xmlns:a16="http://schemas.microsoft.com/office/drawing/2014/main" id="{2CF92041-950D-411E-A5C8-36FED4AC0F4B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10084770" y="3856655"/>
            <a:ext cx="335817" cy="468000"/>
          </a:xfrm>
          <a:custGeom>
            <a:avLst/>
            <a:gdLst>
              <a:gd name="connsiteX0" fmla="*/ 0 w 1204734"/>
              <a:gd name="connsiteY0" fmla="*/ 427296 h 1678939"/>
              <a:gd name="connsiteX1" fmla="*/ 606981 w 1204734"/>
              <a:gd name="connsiteY1" fmla="*/ 0 h 1678939"/>
              <a:gd name="connsiteX2" fmla="*/ 1212168 w 1204734"/>
              <a:gd name="connsiteY2" fmla="*/ 427296 h 1678939"/>
              <a:gd name="connsiteX3" fmla="*/ 1212168 w 1204734"/>
              <a:gd name="connsiteY3" fmla="*/ 1267279 h 1678939"/>
              <a:gd name="connsiteX4" fmla="*/ 606084 w 1204734"/>
              <a:gd name="connsiteY4" fmla="*/ 1679708 h 1678939"/>
              <a:gd name="connsiteX5" fmla="*/ 0 w 1204734"/>
              <a:gd name="connsiteY5" fmla="*/ 1262280 h 1678939"/>
              <a:gd name="connsiteX6" fmla="*/ 0 w 1204734"/>
              <a:gd name="connsiteY6" fmla="*/ 427296 h 1678939"/>
              <a:gd name="connsiteX7" fmla="*/ 0 w 1204734"/>
              <a:gd name="connsiteY7" fmla="*/ 427296 h 1678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4734" h="1678939">
                <a:moveTo>
                  <a:pt x="0" y="427296"/>
                </a:moveTo>
                <a:lnTo>
                  <a:pt x="606981" y="0"/>
                </a:lnTo>
                <a:lnTo>
                  <a:pt x="1212168" y="427296"/>
                </a:lnTo>
                <a:lnTo>
                  <a:pt x="1212168" y="1267279"/>
                </a:lnTo>
                <a:lnTo>
                  <a:pt x="606084" y="1679708"/>
                </a:lnTo>
                <a:lnTo>
                  <a:pt x="0" y="1262280"/>
                </a:lnTo>
                <a:lnTo>
                  <a:pt x="0" y="427296"/>
                </a:lnTo>
                <a:lnTo>
                  <a:pt x="0" y="427296"/>
                </a:lnTo>
                <a:close/>
              </a:path>
            </a:pathLst>
          </a:custGeom>
          <a:solidFill>
            <a:schemeClr val="bg2"/>
          </a:solidFill>
          <a:ln w="13168" cap="flat">
            <a:solidFill>
              <a:schemeClr val="bg1"/>
            </a:solidFill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cxnSp>
        <p:nvCxnSpPr>
          <p:cNvPr id="25" name="Genpact Line">
            <a:extLst>
              <a:ext uri="{FF2B5EF4-FFF2-40B4-BE49-F238E27FC236}">
                <a16:creationId xmlns:a16="http://schemas.microsoft.com/office/drawing/2014/main" id="{2D626E93-C785-443F-B128-36037AEAE739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457200" y="1244774"/>
            <a:ext cx="1078992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86093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A01E02-B5A4-9F09-897E-10DD955D0A5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2 Copyright Genpact. All Rights Reserved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742AB8-533C-24C6-359D-41F45071446B}"/>
              </a:ext>
            </a:extLst>
          </p:cNvPr>
          <p:cNvSpPr txBox="1"/>
          <p:nvPr/>
        </p:nvSpPr>
        <p:spPr>
          <a:xfrm>
            <a:off x="439947" y="166777"/>
            <a:ext cx="6797615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000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000" b="1">
                <a:solidFill>
                  <a:schemeClr val="accent4"/>
                </a:solidFill>
                <a:latin typeface="Baskerville Old Face"/>
              </a:rPr>
              <a:t>Overview of Project Objectives</a:t>
            </a:r>
            <a:endParaRPr lang="en-US">
              <a:solidFill>
                <a:schemeClr val="accent4"/>
              </a:solidFill>
              <a:cs typeface="Arial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ED6F8F0-EFA6-5A0A-BCB7-8A5857F432FF}"/>
              </a:ext>
            </a:extLst>
          </p:cNvPr>
          <p:cNvCxnSpPr/>
          <p:nvPr/>
        </p:nvCxnSpPr>
        <p:spPr>
          <a:xfrm>
            <a:off x="435301" y="1073303"/>
            <a:ext cx="8358385" cy="8967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9347A697-C12F-72DC-5F06-49FE9F7DE1E4}"/>
              </a:ext>
            </a:extLst>
          </p:cNvPr>
          <p:cNvSpPr txBox="1"/>
          <p:nvPr/>
        </p:nvSpPr>
        <p:spPr>
          <a:xfrm>
            <a:off x="435097" y="1142226"/>
            <a:ext cx="9521135" cy="510909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000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/>
              <a:buChar char="v"/>
            </a:pPr>
            <a:r>
              <a:rPr lang="en-US" sz="2900">
                <a:latin typeface="Georgia"/>
              </a:rPr>
              <a:t>Features:</a:t>
            </a:r>
            <a:endParaRPr lang="en-US" sz="2900">
              <a:latin typeface="Georgia"/>
              <a:cs typeface="Arial"/>
            </a:endParaRPr>
          </a:p>
          <a:p>
            <a:pPr marL="742950" lvl="1" indent="-285750">
              <a:buFont typeface="Wingdings"/>
              <a:buChar char="Ø"/>
            </a:pPr>
            <a:r>
              <a:rPr lang="en-US" sz="2900">
                <a:latin typeface="Georgia"/>
                <a:ea typeface="+mn-lt"/>
                <a:cs typeface="+mn-lt"/>
              </a:rPr>
              <a:t>Leveraging advanced analytical techniques for enhanced decision-making.</a:t>
            </a:r>
            <a:endParaRPr lang="en-US" sz="2900">
              <a:latin typeface="Georgia"/>
              <a:cs typeface="Arial"/>
            </a:endParaRPr>
          </a:p>
          <a:p>
            <a:pPr marL="742950" lvl="1" indent="-285750">
              <a:buFont typeface="Wingdings"/>
              <a:buChar char="Ø"/>
            </a:pPr>
            <a:r>
              <a:rPr lang="en-US" sz="2900">
                <a:latin typeface="Georgia"/>
                <a:cs typeface="Arial"/>
              </a:rPr>
              <a:t>Focused on streamlining chargeback dispute management.</a:t>
            </a:r>
          </a:p>
          <a:p>
            <a:pPr marL="742950" lvl="1" indent="-285750">
              <a:buFont typeface="Wingdings"/>
              <a:buChar char="Ø"/>
            </a:pPr>
            <a:r>
              <a:rPr lang="en-US" sz="2900">
                <a:latin typeface="Georgia"/>
              </a:rPr>
              <a:t>Utilize predictive analytics, automated solutions, historical trend insights, and sentiment analysis.</a:t>
            </a:r>
            <a:endParaRPr lang="en-US" sz="2900">
              <a:latin typeface="Georgia"/>
              <a:cs typeface="Arial"/>
            </a:endParaRPr>
          </a:p>
          <a:p>
            <a:pPr marL="285750" indent="-285750">
              <a:buFont typeface="Wingdings"/>
              <a:buChar char="v"/>
            </a:pPr>
            <a:endParaRPr lang="en-US" sz="2900">
              <a:latin typeface="Georgia"/>
              <a:cs typeface="Arial"/>
            </a:endParaRPr>
          </a:p>
          <a:p>
            <a:pPr marL="285750" indent="-285750">
              <a:buFont typeface="Wingdings"/>
              <a:buChar char="v"/>
            </a:pPr>
            <a:r>
              <a:rPr lang="en-US" sz="2900">
                <a:latin typeface="Georgia"/>
              </a:rPr>
              <a:t>Benefit:</a:t>
            </a:r>
            <a:endParaRPr lang="en-US" sz="2900">
              <a:latin typeface="Georgia"/>
              <a:cs typeface="Arial"/>
            </a:endParaRPr>
          </a:p>
          <a:p>
            <a:pPr marL="742950" lvl="1" indent="-285750">
              <a:buFont typeface="Wingdings"/>
              <a:buChar char="Ø"/>
            </a:pPr>
            <a:r>
              <a:rPr lang="en-US" sz="2900">
                <a:latin typeface="Georgia"/>
              </a:rPr>
              <a:t>Enhanced efficiency and reduced resolution times.</a:t>
            </a:r>
            <a:endParaRPr lang="en-US" sz="2900">
              <a:latin typeface="Georgia"/>
              <a:cs typeface="Arial"/>
            </a:endParaRPr>
          </a:p>
          <a:p>
            <a:br>
              <a:rPr lang="en-US"/>
            </a:b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568661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2DA989B-4AA8-9081-A4ED-EAC63D21D9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800" y="1712260"/>
            <a:ext cx="415344" cy="566181"/>
          </a:xfrm>
        </p:spPr>
        <p:txBody>
          <a:bodyPr/>
          <a:lstStyle/>
          <a:p>
            <a:r>
              <a:rPr lang="en-US" sz="2400">
                <a:latin typeface="Georgia"/>
              </a:rPr>
              <a:t>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346C0A-772A-4251-6FCF-8496A716F8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53485" y="1714288"/>
            <a:ext cx="4708798" cy="105028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800">
                <a:latin typeface="Georgia"/>
                <a:ea typeface="Cambria"/>
                <a:cs typeface="Calibri"/>
              </a:rPr>
              <a:t>Predictive Analysis of Chargebacks</a:t>
            </a:r>
            <a:endParaRPr lang="en-US" sz="2800" err="1">
              <a:latin typeface="Georgia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06074BE-1B98-B5A8-D99C-C5379B75D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>
                <a:ea typeface="Cambria"/>
                <a:cs typeface="Calibri"/>
              </a:rPr>
              <a:t>Usecases</a:t>
            </a:r>
            <a:endParaRPr lang="en-US" sz="4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C5311F-CB79-614A-2523-45404326F9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800" y="2908908"/>
            <a:ext cx="415344" cy="518555"/>
          </a:xfrm>
        </p:spPr>
        <p:txBody>
          <a:bodyPr/>
          <a:lstStyle/>
          <a:p>
            <a:r>
              <a:rPr lang="en-US" sz="2400">
                <a:latin typeface="Georgia"/>
              </a:rPr>
              <a:t>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7BE7BC-5B88-34E6-7480-1504EF4334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253485" y="2994279"/>
            <a:ext cx="4494486" cy="871687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800">
                <a:latin typeface="Georgia"/>
                <a:ea typeface="Cambria"/>
                <a:cs typeface="Calibri"/>
              </a:rPr>
              <a:t>Understanding High Rejection Rate</a:t>
            </a:r>
            <a:endParaRPr lang="en-US" sz="2800">
              <a:latin typeface="Georgia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F4BDFC8-7AE4-75FE-56D4-DBAB6D8C926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800" y="4221191"/>
            <a:ext cx="415344" cy="566180"/>
          </a:xfrm>
        </p:spPr>
        <p:txBody>
          <a:bodyPr/>
          <a:lstStyle/>
          <a:p>
            <a:r>
              <a:rPr lang="en-US" sz="2400">
                <a:latin typeface="Georgia"/>
              </a:rPr>
              <a:t>3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165C58D-6527-0896-F359-59F22366D40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253485" y="4342281"/>
            <a:ext cx="4494486" cy="324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800">
                <a:latin typeface="Georgia"/>
                <a:ea typeface="Cambria"/>
                <a:cs typeface="Calibri"/>
              </a:rPr>
              <a:t>Historical Trend Analysis</a:t>
            </a:r>
            <a:endParaRPr lang="en-US" sz="2800">
              <a:latin typeface="Georgia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BCAAD4E-A644-D6F4-B363-D8B74EE05F1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2800" y="5346401"/>
            <a:ext cx="415344" cy="554274"/>
          </a:xfrm>
        </p:spPr>
        <p:txBody>
          <a:bodyPr/>
          <a:lstStyle/>
          <a:p>
            <a:r>
              <a:rPr lang="en-US" sz="2400">
                <a:latin typeface="Georgia"/>
                <a:ea typeface="Cambria"/>
                <a:cs typeface="Calibri"/>
              </a:rPr>
              <a:t>4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F0D8A91-B929-6C9A-C1F1-21928C18F57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53485" y="5467491"/>
            <a:ext cx="4494486" cy="324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800">
                <a:latin typeface="Georgia"/>
                <a:ea typeface="Cambria"/>
                <a:cs typeface="Calibri"/>
              </a:rPr>
              <a:t>Automated Summarization</a:t>
            </a:r>
            <a:endParaRPr lang="en-US" sz="2800">
              <a:latin typeface="Georgia"/>
            </a:endParaRPr>
          </a:p>
        </p:txBody>
      </p:sp>
      <p:pic>
        <p:nvPicPr>
          <p:cNvPr id="17" name="Picture Placeholder 16" descr="Close up of person paying">
            <a:extLst>
              <a:ext uri="{FF2B5EF4-FFF2-40B4-BE49-F238E27FC236}">
                <a16:creationId xmlns:a16="http://schemas.microsoft.com/office/drawing/2014/main" id="{7B55BD82-3FB7-E55A-C827-DE292510C63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l="1968" r="1968"/>
          <a:stretch/>
        </p:blipFill>
        <p:spPr>
          <a:xfrm>
            <a:off x="5186350" y="1"/>
            <a:ext cx="7005651" cy="4863466"/>
          </a:xfrm>
        </p:spPr>
      </p:pic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8A3B5793-40B2-D1D4-4560-C1DD841AB387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371433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A9A3A38-8AB3-885B-AC36-A825866152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199" y="2760109"/>
            <a:ext cx="6620970" cy="1974394"/>
          </a:xfrm>
        </p:spPr>
        <p:txBody>
          <a:bodyPr vert="horz" lIns="0" tIns="0" rIns="0" bIns="0" rtlCol="0" anchor="t">
            <a:noAutofit/>
          </a:bodyPr>
          <a:lstStyle/>
          <a:p>
            <a:pPr>
              <a:defRPr/>
            </a:pPr>
            <a:r>
              <a:rPr lang="en-US" sz="3000">
                <a:latin typeface="Georgia"/>
                <a:ea typeface="Cambria"/>
                <a:cs typeface="Calibri"/>
              </a:rPr>
              <a:t>We developed a system capable of analyzing past chargeback cases to predict liability outcomes based on the evidence provided. </a:t>
            </a:r>
          </a:p>
        </p:txBody>
      </p:sp>
      <p:pic>
        <p:nvPicPr>
          <p:cNvPr id="5" name="Picture 4" descr="City lights focused in magnifying glass">
            <a:extLst>
              <a:ext uri="{FF2B5EF4-FFF2-40B4-BE49-F238E27FC236}">
                <a16:creationId xmlns:a16="http://schemas.microsoft.com/office/drawing/2014/main" id="{3B26CE32-50E5-BB36-1BE6-D0355C75379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2239" b="12239"/>
          <a:stretch/>
        </p:blipFill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noFill/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2D8DC42-767E-CD83-5EC5-47732A6B12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5303"/>
            <a:ext cx="6450962" cy="2538485"/>
          </a:xfrm>
        </p:spPr>
        <p:txBody>
          <a:bodyPr vert="horz" lIns="0" tIns="0" rIns="0" bIns="0" rtlCol="0" anchor="b" anchorCtr="0">
            <a:norm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</a:pPr>
            <a:r>
              <a:rPr lang="en-US" sz="4400">
                <a:latin typeface="Baskerville Old Face"/>
                <a:ea typeface="Cambria"/>
                <a:cs typeface="Calibri"/>
              </a:rPr>
              <a:t>Predictive Analytics for Chargebacks</a:t>
            </a: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</a:pPr>
            <a:endParaRPr lang="en-US" sz="4400">
              <a:latin typeface="Baskerville Old Face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28EEA7-67A3-2D80-75F0-7E434753106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714713" y="6480000"/>
            <a:ext cx="2396518" cy="123111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233547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17" descr="A graph of different colored squares&#10;&#10;Description automatically generated">
            <a:extLst>
              <a:ext uri="{FF2B5EF4-FFF2-40B4-BE49-F238E27FC236}">
                <a16:creationId xmlns:a16="http://schemas.microsoft.com/office/drawing/2014/main" id="{4C859C40-A250-BD9F-B05C-BB02107D475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10410" r="10410"/>
          <a:stretch/>
        </p:blipFill>
        <p:spPr/>
      </p:pic>
      <p:pic>
        <p:nvPicPr>
          <p:cNvPr id="19" name="Picture Placeholder 18" descr="A screen shot of a stock market&#10;&#10;Description automatically generated">
            <a:extLst>
              <a:ext uri="{FF2B5EF4-FFF2-40B4-BE49-F238E27FC236}">
                <a16:creationId xmlns:a16="http://schemas.microsoft.com/office/drawing/2014/main" id="{AC0C1369-F88F-5858-93DB-E0DF424320EA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t="1014" b="1014"/>
          <a:stretch/>
        </p:blipFill>
        <p:spPr>
          <a:xfrm>
            <a:off x="3345617" y="2250000"/>
            <a:ext cx="2592000" cy="1692954"/>
          </a:xfrm>
        </p:spPr>
      </p:pic>
      <p:pic>
        <p:nvPicPr>
          <p:cNvPr id="21" name="Picture Placeholder 20" descr="Robot operating a machine">
            <a:extLst>
              <a:ext uri="{FF2B5EF4-FFF2-40B4-BE49-F238E27FC236}">
                <a16:creationId xmlns:a16="http://schemas.microsoft.com/office/drawing/2014/main" id="{41B076CB-A2D1-A9F9-71D6-2A2B07FCE37D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5"/>
          <a:srcRect t="7470" b="7470"/>
          <a:stretch/>
        </p:blipFill>
        <p:spPr/>
      </p:pic>
      <p:pic>
        <p:nvPicPr>
          <p:cNvPr id="20" name="Picture Placeholder 19" descr="Scientist looking looking at a futuristic display with data">
            <a:extLst>
              <a:ext uri="{FF2B5EF4-FFF2-40B4-BE49-F238E27FC236}">
                <a16:creationId xmlns:a16="http://schemas.microsoft.com/office/drawing/2014/main" id="{F400A1EC-4CF8-3397-8053-CF26CEB26AA7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6"/>
          <a:srcRect t="989" b="989"/>
          <a:stretch/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7A3E7E-48EC-7A0F-0620-99BF712D3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99" y="612190"/>
            <a:ext cx="11287316" cy="1147655"/>
          </a:xfrm>
        </p:spPr>
        <p:txBody>
          <a:bodyPr/>
          <a:lstStyle/>
          <a:p>
            <a:r>
              <a:rPr lang="en-US" sz="2800">
                <a:solidFill>
                  <a:schemeClr val="tx1"/>
                </a:solidFill>
                <a:ea typeface="Cambria"/>
                <a:cs typeface="Calibri"/>
              </a:rPr>
              <a:t>By identifying patterns and trends in historical cases, we can make informed predictions to determine responsibility for chargebacks.</a:t>
            </a:r>
          </a:p>
          <a:p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BC88355-8F78-EA22-BC19-7D6957D86D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9173" y="4050977"/>
            <a:ext cx="2319251" cy="350995"/>
          </a:xfrm>
        </p:spPr>
        <p:txBody>
          <a:bodyPr/>
          <a:lstStyle/>
          <a:p>
            <a:r>
              <a:rPr lang="en-US" sz="1700" b="1">
                <a:latin typeface="Georgia"/>
                <a:ea typeface="Cambria"/>
                <a:cs typeface="Calibri"/>
              </a:rPr>
              <a:t>Features</a:t>
            </a:r>
            <a:endParaRPr lang="en-US" sz="1700" b="1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F1D2026-C6E0-8712-CE4A-08479F9BAE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vert="horz" lIns="0" tIns="46800" rIns="0" bIns="46800" rtlCol="0" anchor="t">
            <a:noAutofit/>
          </a:bodyPr>
          <a:lstStyle/>
          <a:p>
            <a:r>
              <a:rPr lang="en-US" sz="1900">
                <a:solidFill>
                  <a:srgbClr val="EAEAEA"/>
                </a:solidFill>
                <a:latin typeface="Georgia"/>
                <a:ea typeface="Cambria"/>
                <a:cs typeface="Segoe UI"/>
              </a:rPr>
              <a:t>Advanced classification model utilizing Snowflake ML.</a:t>
            </a:r>
            <a:endParaRPr lang="en-US" sz="1900">
              <a:latin typeface="Georgia"/>
              <a:ea typeface="Cambria"/>
            </a:endParaRPr>
          </a:p>
          <a:p>
            <a:pPr marL="285750" indent="-285750">
              <a:buFont typeface="Arial"/>
              <a:buChar char="•"/>
            </a:pPr>
            <a:endParaRPr lang="en-US" sz="1500">
              <a:ea typeface="Cambria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3C1BA9D-E310-6534-56DE-07BCA2B799A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Cambria"/>
                <a:cs typeface="Calibri"/>
              </a:rPr>
              <a:t>PREDICTIVE ANALYSIS FOR CHARGEBACKS</a:t>
            </a:r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8EBDAB68-A2C2-0F86-EDDE-7E3BCB6836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4C81510-8E58-048F-4449-5A19253C099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76428" y="4050977"/>
            <a:ext cx="2319251" cy="350995"/>
          </a:xfrm>
        </p:spPr>
        <p:txBody>
          <a:bodyPr/>
          <a:lstStyle/>
          <a:p>
            <a:r>
              <a:rPr lang="en-US" sz="1700" b="1">
                <a:latin typeface="Georgia"/>
                <a:ea typeface="Cambria"/>
                <a:cs typeface="Calibri"/>
              </a:rPr>
              <a:t>Parameters</a:t>
            </a:r>
            <a:endParaRPr lang="en-US" sz="1700" b="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CC229B3-DE33-2719-6FC3-80B1CA4CF9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 vert="horz" lIns="0" tIns="46800" rIns="0" bIns="46800" rtlCol="0" anchor="t">
            <a:noAutofit/>
          </a:bodyPr>
          <a:lstStyle/>
          <a:p>
            <a:pPr marL="342900" indent="-342900">
              <a:buAutoNum type="arabicPeriod"/>
            </a:pPr>
            <a:r>
              <a:rPr lang="en-US" sz="1700">
                <a:latin typeface="Georgia"/>
                <a:ea typeface="Cambria"/>
                <a:cs typeface="Segoe UI"/>
              </a:rPr>
              <a:t>Dispute Type</a:t>
            </a:r>
            <a:endParaRPr lang="en-US" sz="1700">
              <a:latin typeface="Georgia"/>
              <a:ea typeface="Cambria"/>
              <a:cs typeface="Calibri"/>
            </a:endParaRPr>
          </a:p>
          <a:p>
            <a:pPr marL="342900" indent="-342900">
              <a:buAutoNum type="arabicPeriod"/>
            </a:pPr>
            <a:r>
              <a:rPr lang="en-US" sz="1700">
                <a:latin typeface="Georgia"/>
                <a:ea typeface="Cambria"/>
                <a:cs typeface="Segoe UI"/>
              </a:rPr>
              <a:t>Product Type</a:t>
            </a:r>
          </a:p>
          <a:p>
            <a:pPr marL="342900" indent="-342900">
              <a:buAutoNum type="arabicPeriod"/>
            </a:pPr>
            <a:r>
              <a:rPr lang="en-US" sz="1700">
                <a:latin typeface="Georgia"/>
                <a:ea typeface="Cambria"/>
                <a:cs typeface="Segoe UI"/>
              </a:rPr>
              <a:t>Customer Documentation</a:t>
            </a:r>
            <a:endParaRPr lang="en-US" sz="1700">
              <a:latin typeface="Georgia"/>
            </a:endParaRPr>
          </a:p>
          <a:p>
            <a:pPr marL="342900" indent="-342900">
              <a:buAutoNum type="arabicPeriod"/>
            </a:pPr>
            <a:endParaRPr lang="en-US" sz="1700">
              <a:latin typeface="Georgia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A4E5BE6-1AE5-8330-A7B8-A84074D5780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76738" y="4050977"/>
            <a:ext cx="2319251" cy="350995"/>
          </a:xfrm>
        </p:spPr>
        <p:txBody>
          <a:bodyPr/>
          <a:lstStyle/>
          <a:p>
            <a:r>
              <a:rPr lang="en-US" sz="1700" b="1">
                <a:latin typeface="Georgia"/>
                <a:ea typeface="Cambria"/>
                <a:cs typeface="Calibri"/>
              </a:rPr>
              <a:t>Benefit</a:t>
            </a:r>
            <a:endParaRPr lang="en-US" sz="1700" b="1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40E219D-B422-F0B8-BE82-2DA8FBD1751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 vert="horz" lIns="0" tIns="46800" rIns="0" bIns="46800" rtlCol="0" anchor="t">
            <a:no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800">
                <a:latin typeface="Georgia"/>
                <a:ea typeface="Cambria"/>
                <a:cs typeface="Segoe UI"/>
              </a:rPr>
              <a:t>Improved accuracy  leading to reduced financial losses from unjustified chargebacks.</a:t>
            </a:r>
            <a:endParaRPr lang="en-US" sz="1800">
              <a:latin typeface="Georgia"/>
              <a:ea typeface="Cambria"/>
            </a:endParaRPr>
          </a:p>
          <a:p>
            <a:endParaRPr lang="en-US" sz="1800">
              <a:latin typeface="Georgia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7A692EE-7023-1655-AFE3-799870B0161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275518" y="4035876"/>
            <a:ext cx="2319251" cy="381196"/>
          </a:xfrm>
        </p:spPr>
        <p:txBody>
          <a:bodyPr/>
          <a:lstStyle/>
          <a:p>
            <a:r>
              <a:rPr lang="en-US" sz="1900" b="1">
                <a:latin typeface="Georgia"/>
                <a:ea typeface="Cambria"/>
                <a:cs typeface="Calibri"/>
              </a:rPr>
              <a:t>Pricing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A970DF1-3639-D7ED-6B72-E0D5541DCDA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 vert="horz" lIns="0" tIns="46800" rIns="0" bIns="46800" rtlCol="0" anchor="t">
            <a:noAutofit/>
          </a:bodyPr>
          <a:lstStyle/>
          <a:p>
            <a:r>
              <a:rPr lang="en-US" sz="1700">
                <a:latin typeface="Georgia"/>
                <a:ea typeface="Cambria"/>
                <a:cs typeface="Segoe UI"/>
              </a:rPr>
              <a:t>Cost-saving potential through better outcomes.</a:t>
            </a:r>
            <a:endParaRPr lang="en-US" sz="1700">
              <a:latin typeface="Georgia"/>
              <a:ea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6357951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FREE IMAGE: Shopping mall interior | Libreshot Public Domain Photos">
            <a:extLst>
              <a:ext uri="{FF2B5EF4-FFF2-40B4-BE49-F238E27FC236}">
                <a16:creationId xmlns:a16="http://schemas.microsoft.com/office/drawing/2014/main" id="{F821BE06-5D67-34B5-FA84-80AF70F6703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/>
          <a:srcRect l="20305" r="20305"/>
          <a:stretch/>
        </p:blipFill>
        <p:spPr>
          <a:xfrm>
            <a:off x="1" y="1"/>
            <a:ext cx="5711211" cy="6857999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62AB964-D73D-BDB9-39E3-67DC0EC20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2415" y="1538275"/>
            <a:ext cx="4004632" cy="2069500"/>
          </a:xfrm>
        </p:spPr>
        <p:txBody>
          <a:bodyPr/>
          <a:lstStyle/>
          <a:p>
            <a:r>
              <a:rPr lang="en-US">
                <a:ea typeface="Cambria"/>
                <a:cs typeface="Calibri"/>
              </a:rPr>
              <a:t>Understanding High Rejection Rates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B13376-9735-7782-29C9-84BC3F76DE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42415" y="3788622"/>
            <a:ext cx="3725232" cy="2549546"/>
          </a:xfrm>
        </p:spPr>
        <p:txBody>
          <a:bodyPr/>
          <a:lstStyle/>
          <a:p>
            <a:r>
              <a:rPr lang="en-US" sz="2400">
                <a:latin typeface="Georgia"/>
                <a:ea typeface="Cambria"/>
                <a:cs typeface="Segoe UI"/>
              </a:rPr>
              <a:t>Analyzing the reasons behind a high rejection rate of disputes through sentiment analysis</a:t>
            </a:r>
            <a:endParaRPr lang="en-US" sz="2400">
              <a:latin typeface="Georgia"/>
              <a:ea typeface="Cambria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5505F7-8058-02E1-6C0D-8201A708616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00309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55B97E8-D3D4-FA18-3B5B-0F0D51CE6E3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Cambria"/>
                <a:cs typeface="Calibri"/>
              </a:rPr>
              <a:t>HIGH REJECTION RAT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A6BD6D-8A2C-97BA-E44E-44190A45664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en-US" sz="1900">
                <a:ea typeface="Cambria"/>
                <a:cs typeface="Calibri"/>
              </a:rPr>
              <a:t>PRICING</a:t>
            </a:r>
            <a:endParaRPr lang="en-US" sz="19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A785F-B6C5-0EEA-5057-FF8DEF12D4E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en-US" sz="1900">
                <a:latin typeface="Georgia"/>
                <a:ea typeface="Cambria"/>
                <a:cs typeface="Calibri"/>
              </a:rPr>
              <a:t>We're calculating the cost of using these LLM functions.</a:t>
            </a:r>
            <a:endParaRPr lang="en-US" sz="1900">
              <a:latin typeface="Georgia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074EAA-EAFA-8500-204B-8F42A4CA9D0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sz="2000">
                <a:ea typeface="Cambria"/>
                <a:cs typeface="Calibri"/>
              </a:rPr>
              <a:t>BENEFI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0C65EF9-8BBB-9931-29DF-8FC2C4A801DF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en-US" sz="1900">
                <a:latin typeface="Georgia"/>
                <a:ea typeface="+mn-lt"/>
                <a:cs typeface="+mn-lt"/>
              </a:rPr>
              <a:t>Addressing issues leading to high rejection rates will enhance the customer experience, potentially leading to lower dispute rates in the long term.</a:t>
            </a:r>
            <a:endParaRPr lang="en-US" sz="1900">
              <a:latin typeface="Georgia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F79DFE-30F1-241A-84D8-46388B68075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en-US" sz="1900">
                <a:latin typeface="Georgia"/>
                <a:ea typeface="Cambria"/>
                <a:cs typeface="Calibri"/>
              </a:rPr>
              <a:t>Currently we're using Customer Reviews as a parameter and then further summarizing it to understand the cause of rejection.</a:t>
            </a:r>
            <a:endParaRPr lang="en-US" sz="1900">
              <a:latin typeface="Georgia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002DC5E-F056-0A00-6844-F6CB4CB49F5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en-US" sz="2000">
                <a:ea typeface="Cambria"/>
                <a:cs typeface="Calibri"/>
              </a:rPr>
              <a:t>PARAMETERS USED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F2CE7-8E10-49A2-5C8A-BD27058DFEC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799" y="2650502"/>
            <a:ext cx="3429000" cy="1497507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900">
                <a:latin typeface="Georgia"/>
                <a:ea typeface="Cambria"/>
                <a:cs typeface="Calibri"/>
              </a:rPr>
              <a:t>We're using Snowflake Cortex's SENTIMENT function to implement sentimental analysis on Customer Reviews.</a:t>
            </a:r>
            <a:endParaRPr lang="en-US" sz="1900">
              <a:solidFill>
                <a:schemeClr val="tx1"/>
              </a:solidFill>
              <a:latin typeface="Georgia"/>
              <a:ea typeface="Cambria"/>
              <a:cs typeface="Calibri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0F8FF82-BF84-5FAC-E8F1-D62421216A1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sz="2000">
                <a:ea typeface="Cambria"/>
                <a:cs typeface="Calibri"/>
              </a:rPr>
              <a:t>SENTIMENT </a:t>
            </a:r>
            <a:endParaRPr lang="en-US" sz="200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8E77A53-2557-87D1-FC7F-5D59DC2B6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99" y="460732"/>
            <a:ext cx="11300453" cy="990000"/>
          </a:xfrm>
        </p:spPr>
        <p:txBody>
          <a:bodyPr/>
          <a:lstStyle/>
          <a:p>
            <a:r>
              <a:rPr lang="en-US" sz="2800">
                <a:ea typeface="Cambria"/>
                <a:cs typeface="Calibri"/>
              </a:rPr>
              <a:t>By employing sentiment analysis, we can examine comments left by customers regarding their disputes to find the most common negative sentiments: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EBD157D-DE86-E143-05AC-B30148D7A7CA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pPr algn="ctr"/>
            <a:r>
              <a:rPr lang="en-US" sz="1900"/>
              <a:t>How we do it?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2662244-7DA7-8DD7-BFEB-7A3459297C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E7062D5-7346-1A04-0911-DBD98DE122BF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pPr algn="ctr"/>
            <a:r>
              <a:rPr lang="en-US" sz="1900"/>
              <a:t>What are the parameters used?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F394575-A822-1DE3-23F3-921AA1D3D081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pPr algn="ctr"/>
            <a:r>
              <a:rPr lang="en-US" sz="1900"/>
              <a:t>What do we achieve?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10D8C23-0612-1B11-FD86-9A547D1DCAE5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pPr algn="ctr"/>
            <a:r>
              <a:rPr lang="en-US" sz="1900"/>
              <a:t>How much it will cost?</a:t>
            </a:r>
          </a:p>
        </p:txBody>
      </p:sp>
    </p:spTree>
    <p:extLst>
      <p:ext uri="{BB962C8B-B14F-4D97-AF65-F5344CB8AC3E}">
        <p14:creationId xmlns:p14="http://schemas.microsoft.com/office/powerpoint/2010/main" val="22589594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FREE IMAGE: Shopping mall interior | Libreshot Public Domain Photos">
            <a:extLst>
              <a:ext uri="{FF2B5EF4-FFF2-40B4-BE49-F238E27FC236}">
                <a16:creationId xmlns:a16="http://schemas.microsoft.com/office/drawing/2014/main" id="{F821BE06-5D67-34B5-FA84-80AF70F6703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/>
          <a:srcRect l="20305" r="20305"/>
          <a:stretch/>
        </p:blipFill>
        <p:spPr>
          <a:xfrm>
            <a:off x="1" y="1"/>
            <a:ext cx="5711211" cy="6857999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62AB964-D73D-BDB9-39E3-67DC0EC20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1061" y="518367"/>
            <a:ext cx="4004632" cy="2069500"/>
          </a:xfrm>
        </p:spPr>
        <p:txBody>
          <a:bodyPr/>
          <a:lstStyle/>
          <a:p>
            <a:r>
              <a:rPr lang="en-US">
                <a:ea typeface="Cambria"/>
                <a:cs typeface="Calibri"/>
              </a:rPr>
              <a:t>Historical Trend Analysis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B13376-9735-7782-29C9-84BC3F76DE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1061" y="2862499"/>
            <a:ext cx="3725232" cy="3311546"/>
          </a:xfrm>
        </p:spPr>
        <p:txBody>
          <a:bodyPr/>
          <a:lstStyle/>
          <a:p>
            <a:pPr marL="342900" indent="-342900">
              <a:buChar char="•"/>
            </a:pPr>
            <a:r>
              <a:rPr lang="en-US" sz="2400">
                <a:latin typeface="Georgia"/>
                <a:ea typeface="Cambria"/>
                <a:cs typeface="Segoe UI"/>
              </a:rPr>
              <a:t>Analyzing the frequency of disputes logged by each member over time.</a:t>
            </a:r>
          </a:p>
          <a:p>
            <a:pPr marL="342900" indent="-342900">
              <a:buChar char="•"/>
            </a:pPr>
            <a:r>
              <a:rPr lang="en-US" sz="2400">
                <a:latin typeface="Georgia"/>
                <a:ea typeface="Cambria"/>
                <a:cs typeface="Segoe UI"/>
              </a:rPr>
              <a:t>Identifying the trends or patterns that may need attention.</a:t>
            </a:r>
          </a:p>
          <a:p>
            <a:pPr marL="342900" indent="-342900">
              <a:buChar char="•"/>
            </a:pPr>
            <a:endParaRPr lang="en-US" sz="2400">
              <a:latin typeface="Georgia"/>
              <a:ea typeface="Cambria"/>
              <a:cs typeface="Segoe U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5505F7-8058-02E1-6C0D-8201A708616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461395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>
            <a:extLst>
              <a:ext uri="{FF2B5EF4-FFF2-40B4-BE49-F238E27FC236}">
                <a16:creationId xmlns:a16="http://schemas.microsoft.com/office/drawing/2014/main" id="{03A5000B-7DB0-4E92-8880-F7ECCCF0EE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800" y="463951"/>
            <a:ext cx="8272947" cy="1238658"/>
          </a:xfrm>
        </p:spPr>
        <p:txBody>
          <a:bodyPr/>
          <a:lstStyle/>
          <a:p>
            <a:r>
              <a:rPr lang="en-US">
                <a:ea typeface="Cambria"/>
                <a:cs typeface="Calibri"/>
              </a:rPr>
              <a:t>By analysing the patterns</a:t>
            </a:r>
            <a:br>
              <a:rPr lang="en-US">
                <a:ea typeface="Cambria"/>
                <a:cs typeface="Calibri"/>
              </a:rPr>
            </a:br>
            <a:r>
              <a:rPr lang="en-US">
                <a:ea typeface="Cambria"/>
                <a:cs typeface="Calibri"/>
              </a:rPr>
              <a:t> in history data we are trying to</a:t>
            </a:r>
            <a:br>
              <a:rPr lang="en-US">
                <a:ea typeface="Cambria"/>
                <a:cs typeface="Calibri"/>
              </a:rPr>
            </a:br>
            <a:endParaRPr lang="en-US"/>
          </a:p>
        </p:txBody>
      </p:sp>
      <p:sp>
        <p:nvSpPr>
          <p:cNvPr id="62" name="Text Placeholder 79">
            <a:extLst>
              <a:ext uri="{FF2B5EF4-FFF2-40B4-BE49-F238E27FC236}">
                <a16:creationId xmlns:a16="http://schemas.microsoft.com/office/drawing/2014/main" id="{AF3D873D-8E53-1044-976D-18445DF610A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800" y="2146908"/>
            <a:ext cx="272470" cy="375681"/>
          </a:xfrm>
        </p:spPr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63" name="Text Placeholder 80">
            <a:extLst>
              <a:ext uri="{FF2B5EF4-FFF2-40B4-BE49-F238E27FC236}">
                <a16:creationId xmlns:a16="http://schemas.microsoft.com/office/drawing/2014/main" id="{F92D7E5F-137C-FC44-8C5D-AFF5C432256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15360" y="2161025"/>
            <a:ext cx="4494486" cy="54673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Cambria"/>
                <a:cs typeface="Calibri"/>
              </a:rPr>
              <a:t>Identify the members who have raised maximum disputes over years in the past</a:t>
            </a:r>
            <a:endParaRPr lang="en-US"/>
          </a:p>
        </p:txBody>
      </p:sp>
      <p:sp>
        <p:nvSpPr>
          <p:cNvPr id="64" name="Text Placeholder 81">
            <a:extLst>
              <a:ext uri="{FF2B5EF4-FFF2-40B4-BE49-F238E27FC236}">
                <a16:creationId xmlns:a16="http://schemas.microsoft.com/office/drawing/2014/main" id="{97D19C53-648A-AF48-BCBC-9E84A0A479D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800" y="2899597"/>
            <a:ext cx="272470" cy="375681"/>
          </a:xfrm>
        </p:spPr>
        <p:txBody>
          <a:bodyPr/>
          <a:lstStyle/>
          <a:p>
            <a:r>
              <a:rPr lang="en-US">
                <a:ea typeface="Cambria"/>
                <a:cs typeface="Calibri"/>
              </a:rPr>
              <a:t>2</a:t>
            </a:r>
            <a:endParaRPr lang="en-US"/>
          </a:p>
        </p:txBody>
      </p:sp>
      <p:sp>
        <p:nvSpPr>
          <p:cNvPr id="65" name="Text Placeholder 82">
            <a:extLst>
              <a:ext uri="{FF2B5EF4-FFF2-40B4-BE49-F238E27FC236}">
                <a16:creationId xmlns:a16="http://schemas.microsoft.com/office/drawing/2014/main" id="{53EE1950-DE73-0E49-937F-C9FDCCBCC23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5360" y="2925437"/>
            <a:ext cx="4494486" cy="324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Cambria"/>
                <a:cs typeface="Calibri"/>
              </a:rPr>
              <a:t>Applying various checks to identify the case of risk or issues</a:t>
            </a:r>
            <a:endParaRPr lang="en-US"/>
          </a:p>
        </p:txBody>
      </p:sp>
      <p:sp>
        <p:nvSpPr>
          <p:cNvPr id="66" name="Text Placeholder 83">
            <a:extLst>
              <a:ext uri="{FF2B5EF4-FFF2-40B4-BE49-F238E27FC236}">
                <a16:creationId xmlns:a16="http://schemas.microsoft.com/office/drawing/2014/main" id="{12F3F1FA-54AD-324F-8CA6-5D970AC2D92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2800" y="3679526"/>
            <a:ext cx="272470" cy="375681"/>
          </a:xfrm>
        </p:spPr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67" name="Text Placeholder 84">
            <a:extLst>
              <a:ext uri="{FF2B5EF4-FFF2-40B4-BE49-F238E27FC236}">
                <a16:creationId xmlns:a16="http://schemas.microsoft.com/office/drawing/2014/main" id="{22449F98-E883-0B41-9131-E0FC9947C05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15360" y="3705366"/>
            <a:ext cx="4494486" cy="324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>
                <a:cs typeface="Arial"/>
              </a:rPr>
              <a:t>Finding out the most common reasons of disputes</a:t>
            </a:r>
            <a:endParaRPr lang="en-US">
              <a:solidFill>
                <a:srgbClr val="000000"/>
              </a:solidFill>
              <a:cs typeface="Arial"/>
            </a:endParaRPr>
          </a:p>
          <a:p>
            <a:endParaRPr lang="en-US"/>
          </a:p>
        </p:txBody>
      </p:sp>
      <p:sp>
        <p:nvSpPr>
          <p:cNvPr id="68" name="Text Placeholder 85">
            <a:extLst>
              <a:ext uri="{FF2B5EF4-FFF2-40B4-BE49-F238E27FC236}">
                <a16:creationId xmlns:a16="http://schemas.microsoft.com/office/drawing/2014/main" id="{A959637A-0AB8-5C4F-AB62-5AC9647F01E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800" y="4434106"/>
            <a:ext cx="272470" cy="375681"/>
          </a:xfrm>
        </p:spPr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69" name="Text Placeholder 86">
            <a:extLst>
              <a:ext uri="{FF2B5EF4-FFF2-40B4-BE49-F238E27FC236}">
                <a16:creationId xmlns:a16="http://schemas.microsoft.com/office/drawing/2014/main" id="{09874425-EA54-B44A-A6A7-86D46F39D5E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15360" y="4436500"/>
            <a:ext cx="4494486" cy="581907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Cambria"/>
                <a:cs typeface="Calibri"/>
              </a:rPr>
              <a:t>Predicting </a:t>
            </a:r>
            <a:r>
              <a:rPr lang="en-US">
                <a:ea typeface="Cambria"/>
                <a:cs typeface="Arial"/>
              </a:rPr>
              <a:t>the members who might raise larger number of disputes in the future</a:t>
            </a:r>
            <a:endParaRPr lang="en-US">
              <a:solidFill>
                <a:srgbClr val="000000"/>
              </a:solidFill>
              <a:ea typeface="Cambria"/>
              <a:cs typeface="Arial"/>
            </a:endParaRPr>
          </a:p>
          <a:p>
            <a:endParaRPr lang="en-US"/>
          </a:p>
        </p:txBody>
      </p:sp>
      <p:pic>
        <p:nvPicPr>
          <p:cNvPr id="35" name="Picture Placeholder 15" descr="A picture containing table, computer, desk, man&#10;&#10;Description automatically generated">
            <a:extLst>
              <a:ext uri="{FF2B5EF4-FFF2-40B4-BE49-F238E27FC236}">
                <a16:creationId xmlns:a16="http://schemas.microsoft.com/office/drawing/2014/main" id="{65210DB7-2C7A-6F43-83F6-F54CED774CB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8" b="118"/>
          <a:stretch/>
        </p:blipFill>
        <p:spPr>
          <a:xfrm>
            <a:off x="5205400" y="1"/>
            <a:ext cx="6986601" cy="4853941"/>
          </a:xfr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7D1C40-4F91-D442-9B53-318FBDE6AEB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>
          <a:xfrm>
            <a:off x="714713" y="6480000"/>
            <a:ext cx="2396518" cy="123111"/>
          </a:xfrm>
        </p:spPr>
        <p:txBody>
          <a:bodyPr/>
          <a:lstStyle/>
          <a:p>
            <a:r>
              <a:rPr lang="en-US"/>
              <a:t>© 2023 Copyright Genpact. All Rights Reserved.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334391-4BF7-4596-AC40-31C36B70BE3D}"/>
              </a:ext>
            </a:extLst>
          </p:cNvPr>
          <p:cNvSpPr/>
          <p:nvPr/>
        </p:nvSpPr>
        <p:spPr>
          <a:xfrm>
            <a:off x="9563100" y="2273789"/>
            <a:ext cx="2627631" cy="3649124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7BCCC86-B7F7-47BC-9782-5E9EE46609D6}"/>
              </a:ext>
            </a:extLst>
          </p:cNvPr>
          <p:cNvSpPr/>
          <p:nvPr/>
        </p:nvSpPr>
        <p:spPr>
          <a:xfrm>
            <a:off x="8324850" y="0"/>
            <a:ext cx="3867150" cy="4308945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3945060"/>
              <a:gd name="connsiteY0" fmla="*/ 65454 h 4504104"/>
              <a:gd name="connsiteX1" fmla="*/ 2641600 w 3945060"/>
              <a:gd name="connsiteY1" fmla="*/ 1849804 h 4504104"/>
              <a:gd name="connsiteX2" fmla="*/ 1384300 w 3945060"/>
              <a:gd name="connsiteY2" fmla="*/ 2738804 h 4504104"/>
              <a:gd name="connsiteX3" fmla="*/ 3911600 w 3945060"/>
              <a:gd name="connsiteY3" fmla="*/ 4504104 h 4504104"/>
              <a:gd name="connsiteX4" fmla="*/ 3945060 w 3945060"/>
              <a:gd name="connsiteY4" fmla="*/ 0 h 4504104"/>
              <a:gd name="connsiteX5" fmla="*/ 0 w 3945060"/>
              <a:gd name="connsiteY5" fmla="*/ 65454 h 4504104"/>
              <a:gd name="connsiteX0" fmla="*/ 0 w 4016864"/>
              <a:gd name="connsiteY0" fmla="*/ 17585 h 4504104"/>
              <a:gd name="connsiteX1" fmla="*/ 2713404 w 4016864"/>
              <a:gd name="connsiteY1" fmla="*/ 1849804 h 4504104"/>
              <a:gd name="connsiteX2" fmla="*/ 1456104 w 4016864"/>
              <a:gd name="connsiteY2" fmla="*/ 2738804 h 4504104"/>
              <a:gd name="connsiteX3" fmla="*/ 3983404 w 4016864"/>
              <a:gd name="connsiteY3" fmla="*/ 4504104 h 4504104"/>
              <a:gd name="connsiteX4" fmla="*/ 4016864 w 4016864"/>
              <a:gd name="connsiteY4" fmla="*/ 0 h 4504104"/>
              <a:gd name="connsiteX5" fmla="*/ 0 w 4016864"/>
              <a:gd name="connsiteY5" fmla="*/ 17585 h 4504104"/>
              <a:gd name="connsiteX0" fmla="*/ 0 w 4031681"/>
              <a:gd name="connsiteY0" fmla="*/ 2769 h 4504104"/>
              <a:gd name="connsiteX1" fmla="*/ 2728221 w 4031681"/>
              <a:gd name="connsiteY1" fmla="*/ 1849804 h 4504104"/>
              <a:gd name="connsiteX2" fmla="*/ 1470921 w 4031681"/>
              <a:gd name="connsiteY2" fmla="*/ 2738804 h 4504104"/>
              <a:gd name="connsiteX3" fmla="*/ 3998221 w 4031681"/>
              <a:gd name="connsiteY3" fmla="*/ 4504104 h 4504104"/>
              <a:gd name="connsiteX4" fmla="*/ 4031681 w 4031681"/>
              <a:gd name="connsiteY4" fmla="*/ 0 h 4504104"/>
              <a:gd name="connsiteX5" fmla="*/ 0 w 4031681"/>
              <a:gd name="connsiteY5" fmla="*/ 2769 h 4504104"/>
              <a:gd name="connsiteX0" fmla="*/ 0 w 4000566"/>
              <a:gd name="connsiteY0" fmla="*/ 0 h 4501335"/>
              <a:gd name="connsiteX1" fmla="*/ 2728221 w 4000566"/>
              <a:gd name="connsiteY1" fmla="*/ 1847035 h 4501335"/>
              <a:gd name="connsiteX2" fmla="*/ 1470921 w 4000566"/>
              <a:gd name="connsiteY2" fmla="*/ 2736035 h 4501335"/>
              <a:gd name="connsiteX3" fmla="*/ 3998221 w 4000566"/>
              <a:gd name="connsiteY3" fmla="*/ 4501335 h 4501335"/>
              <a:gd name="connsiteX4" fmla="*/ 4000566 w 4000566"/>
              <a:gd name="connsiteY4" fmla="*/ 5086 h 4501335"/>
              <a:gd name="connsiteX5" fmla="*/ 0 w 4000566"/>
              <a:gd name="connsiteY5" fmla="*/ 0 h 4501335"/>
              <a:gd name="connsiteX0" fmla="*/ 0 w 4000566"/>
              <a:gd name="connsiteY0" fmla="*/ 0 h 4501335"/>
              <a:gd name="connsiteX1" fmla="*/ 2871213 w 4000566"/>
              <a:gd name="connsiteY1" fmla="*/ 1969216 h 4501335"/>
              <a:gd name="connsiteX2" fmla="*/ 1470921 w 4000566"/>
              <a:gd name="connsiteY2" fmla="*/ 2736035 h 4501335"/>
              <a:gd name="connsiteX3" fmla="*/ 3998221 w 4000566"/>
              <a:gd name="connsiteY3" fmla="*/ 4501335 h 4501335"/>
              <a:gd name="connsiteX4" fmla="*/ 4000566 w 4000566"/>
              <a:gd name="connsiteY4" fmla="*/ 5086 h 4501335"/>
              <a:gd name="connsiteX5" fmla="*/ 0 w 4000566"/>
              <a:gd name="connsiteY5" fmla="*/ 0 h 4501335"/>
              <a:gd name="connsiteX0" fmla="*/ 0 w 4000566"/>
              <a:gd name="connsiteY0" fmla="*/ 0 h 4501335"/>
              <a:gd name="connsiteX1" fmla="*/ 2689723 w 4000566"/>
              <a:gd name="connsiteY1" fmla="*/ 1902572 h 4501335"/>
              <a:gd name="connsiteX2" fmla="*/ 1470921 w 4000566"/>
              <a:gd name="connsiteY2" fmla="*/ 2736035 h 4501335"/>
              <a:gd name="connsiteX3" fmla="*/ 3998221 w 4000566"/>
              <a:gd name="connsiteY3" fmla="*/ 4501335 h 4501335"/>
              <a:gd name="connsiteX4" fmla="*/ 4000566 w 4000566"/>
              <a:gd name="connsiteY4" fmla="*/ 5086 h 4501335"/>
              <a:gd name="connsiteX5" fmla="*/ 0 w 4000566"/>
              <a:gd name="connsiteY5" fmla="*/ 0 h 4501335"/>
              <a:gd name="connsiteX0" fmla="*/ 0 w 4000566"/>
              <a:gd name="connsiteY0" fmla="*/ 0 h 4501335"/>
              <a:gd name="connsiteX1" fmla="*/ 2689723 w 4000566"/>
              <a:gd name="connsiteY1" fmla="*/ 1902572 h 4501335"/>
              <a:gd name="connsiteX2" fmla="*/ 1619412 w 4000566"/>
              <a:gd name="connsiteY2" fmla="*/ 2747142 h 4501335"/>
              <a:gd name="connsiteX3" fmla="*/ 3998221 w 4000566"/>
              <a:gd name="connsiteY3" fmla="*/ 4501335 h 4501335"/>
              <a:gd name="connsiteX4" fmla="*/ 4000566 w 4000566"/>
              <a:gd name="connsiteY4" fmla="*/ 5086 h 4501335"/>
              <a:gd name="connsiteX5" fmla="*/ 0 w 4000566"/>
              <a:gd name="connsiteY5" fmla="*/ 0 h 4501335"/>
              <a:gd name="connsiteX0" fmla="*/ 0 w 4000566"/>
              <a:gd name="connsiteY0" fmla="*/ 0 h 4501335"/>
              <a:gd name="connsiteX1" fmla="*/ 2689723 w 4000566"/>
              <a:gd name="connsiteY1" fmla="*/ 1902572 h 4501335"/>
              <a:gd name="connsiteX2" fmla="*/ 1481920 w 4000566"/>
              <a:gd name="connsiteY2" fmla="*/ 2747142 h 4501335"/>
              <a:gd name="connsiteX3" fmla="*/ 3998221 w 4000566"/>
              <a:gd name="connsiteY3" fmla="*/ 4501335 h 4501335"/>
              <a:gd name="connsiteX4" fmla="*/ 4000566 w 4000566"/>
              <a:gd name="connsiteY4" fmla="*/ 5086 h 4501335"/>
              <a:gd name="connsiteX5" fmla="*/ 0 w 4000566"/>
              <a:gd name="connsiteY5" fmla="*/ 0 h 4501335"/>
              <a:gd name="connsiteX0" fmla="*/ 0 w 4000566"/>
              <a:gd name="connsiteY0" fmla="*/ 0 h 4501335"/>
              <a:gd name="connsiteX1" fmla="*/ 2689723 w 4000566"/>
              <a:gd name="connsiteY1" fmla="*/ 1902572 h 4501335"/>
              <a:gd name="connsiteX2" fmla="*/ 1623155 w 4000566"/>
              <a:gd name="connsiteY2" fmla="*/ 2753775 h 4501335"/>
              <a:gd name="connsiteX3" fmla="*/ 3998221 w 4000566"/>
              <a:gd name="connsiteY3" fmla="*/ 4501335 h 4501335"/>
              <a:gd name="connsiteX4" fmla="*/ 4000566 w 4000566"/>
              <a:gd name="connsiteY4" fmla="*/ 5086 h 4501335"/>
              <a:gd name="connsiteX5" fmla="*/ 0 w 4000566"/>
              <a:gd name="connsiteY5" fmla="*/ 0 h 4501335"/>
              <a:gd name="connsiteX0" fmla="*/ 0 w 4000566"/>
              <a:gd name="connsiteY0" fmla="*/ 0 h 4501335"/>
              <a:gd name="connsiteX1" fmla="*/ 2689723 w 4000566"/>
              <a:gd name="connsiteY1" fmla="*/ 1902572 h 4501335"/>
              <a:gd name="connsiteX2" fmla="*/ 1485205 w 4000566"/>
              <a:gd name="connsiteY2" fmla="*/ 2743825 h 4501335"/>
              <a:gd name="connsiteX3" fmla="*/ 3998221 w 4000566"/>
              <a:gd name="connsiteY3" fmla="*/ 4501335 h 4501335"/>
              <a:gd name="connsiteX4" fmla="*/ 4000566 w 4000566"/>
              <a:gd name="connsiteY4" fmla="*/ 5086 h 4501335"/>
              <a:gd name="connsiteX5" fmla="*/ 0 w 4000566"/>
              <a:gd name="connsiteY5" fmla="*/ 0 h 4501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0566" h="4501335">
                <a:moveTo>
                  <a:pt x="0" y="0"/>
                </a:moveTo>
                <a:lnTo>
                  <a:pt x="2689723" y="1902572"/>
                </a:lnTo>
                <a:lnTo>
                  <a:pt x="1485205" y="2743825"/>
                </a:lnTo>
                <a:lnTo>
                  <a:pt x="3998221" y="4501335"/>
                </a:lnTo>
                <a:cubicBezTo>
                  <a:pt x="3999003" y="3002585"/>
                  <a:pt x="3999784" y="1503836"/>
                  <a:pt x="4000566" y="5086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C53E713-9A50-457A-B152-C7B251538D92}"/>
              </a:ext>
            </a:extLst>
          </p:cNvPr>
          <p:cNvCxnSpPr>
            <a:cxnSpLocks/>
          </p:cNvCxnSpPr>
          <p:nvPr/>
        </p:nvCxnSpPr>
        <p:spPr>
          <a:xfrm>
            <a:off x="445475" y="1771788"/>
            <a:ext cx="192024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96226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60cf1f57-96f0-41c5-80b0-6bdd055b943f"/>
  <p:tag name="MIO_UPDATE" val="True"/>
  <p:tag name="MIO_VERSION" val="28.12.2020 13:34:11"/>
  <p:tag name="MIO_DBID" val="B8FCB12D-AF03-49EB-9F79-BB019BE99E1E"/>
  <p:tag name="MIO_LASTDOWNLOADED" val="28.12.2020 18:24:09.936"/>
  <p:tag name="MIO_OBJECTNAME" val="G"/>
  <p:tag name="MIO_CDID" val="3d435a17-43bc-49ce-8c2a-a6b042be0530"/>
  <p:tag name="MIO_FALLBACK_LAYOUT" val="16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9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641850-e3d7-48a8-92d9-6fcd04b7bbc3"/>
  <p:tag name="MIO_EK" val="43390"/>
  <p:tag name="MIO_EKGUID" val="1c494e71-f58c-4c8d-a49a-6d1b74faa6a1"/>
  <p:tag name="MIO_UPDATE" val="True"/>
  <p:tag name="MIO_VERSION" val="20.11.2019 21:17:55"/>
  <p:tag name="MIO_DBID" val="B8FCB12D-AF03-49EB-9F79-BB019BE99E1E"/>
  <p:tag name="MIO_LASTDOWNLOADED" val="27.12.2020 15:03:32.232"/>
  <p:tag name="MIO_OBJECTNAME" val="Post-it Note"/>
  <p:tag name="MIO_LASTEDITORNAME" val="Georgina Newazur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1bdb2fb-6818-4da2-b61e-e8ddb46ba1aa"/>
  <p:tag name="MIO_GUID" val="4bb7343e-9dab-4b0c-ba61-0bc1ead89e55"/>
  <p:tag name="MIO_UPDATE" val="True"/>
  <p:tag name="MIO_VERSION" val="28.12.2020 17:05:51"/>
  <p:tag name="MIO_DBID" val="B8FCB12D-AF03-49EB-9F79-BB019BE99E1E"/>
  <p:tag name="MIO_LASTDOWNLOADED" val="30.12.2020 19:46:47.970"/>
  <p:tag name="MIO_OBJECTNAME" val="Genpact Line"/>
  <p:tag name="MIO_LASTEDITORNAME" val="Debbie Minchingt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51c7a32-405e-4a0c-999e-8ae35c2c272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7efa935-ba3b-482f-8d28-015a3e86611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2484690-cb64-4b25-be47-13c7e4e44b0b"/>
  <p:tag name="MIO_GUID" val="a52834fd-9b66-4c68-9fe8-25bf8cc036c4"/>
  <p:tag name="MIO_UPDATE" val="True"/>
  <p:tag name="MIO_VERSION" val="04.12.2020 14:32:19"/>
  <p:tag name="MIO_DBID" val="B8FCB12D-AF03-49EB-9F79-BB019BE99E1E"/>
  <p:tag name="MIO_LASTDOWNLOADED" val="09.12.2020 11:13:17.636"/>
  <p:tag name="MIO_OBJECTNAME" val="G subhead"/>
  <p:tag name="MIO_LASTEDITORNAME" val="George DEMO"/>
  <p:tag name="RNRSTYLE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1bdb2fb-6818-4da2-b61e-e8ddb46ba1aa"/>
  <p:tag name="MIO_GUID" val="4bb7343e-9dab-4b0c-ba61-0bc1ead89e55"/>
  <p:tag name="MIO_UPDATE" val="True"/>
  <p:tag name="MIO_VERSION" val="28.12.2020 17:05:51"/>
  <p:tag name="MIO_DBID" val="B8FCB12D-AF03-49EB-9F79-BB019BE99E1E"/>
  <p:tag name="MIO_LASTDOWNLOADED" val="30.12.2020 19:46:47.970"/>
  <p:tag name="MIO_OBJECTNAME" val="Genpact Line"/>
  <p:tag name="MIO_LASTEDITORNAME" val="Debbie Minchingt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1bdb2fb-6818-4da2-b61e-e8ddb46ba1aa"/>
  <p:tag name="MIO_GUID" val="4bb7343e-9dab-4b0c-ba61-0bc1ead89e55"/>
  <p:tag name="MIO_UPDATE" val="True"/>
  <p:tag name="MIO_VERSION" val="28.12.2020 17:05:51"/>
  <p:tag name="MIO_DBID" val="B8FCB12D-AF03-49EB-9F79-BB019BE99E1E"/>
  <p:tag name="MIO_LASTDOWNLOADED" val="30.12.2020 19:46:47.970"/>
  <p:tag name="MIO_OBJECTNAME" val="Genpact Line"/>
  <p:tag name="MIO_LASTEDITORNAME" val="Debbie Minchingt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1bdb2fb-6818-4da2-b61e-e8ddb46ba1aa"/>
  <p:tag name="MIO_GUID" val="4bb7343e-9dab-4b0c-ba61-0bc1ead89e55"/>
  <p:tag name="MIO_UPDATE" val="True"/>
  <p:tag name="MIO_VERSION" val="28.12.2020 17:05:51"/>
  <p:tag name="MIO_DBID" val="B8FCB12D-AF03-49EB-9F79-BB019BE99E1E"/>
  <p:tag name="MIO_LASTDOWNLOADED" val="30.12.2020 19:46:47.970"/>
  <p:tag name="MIO_OBJECTNAME" val="Genpact Line"/>
  <p:tag name="MIO_LASTEDITORNAME" val="Debbie Minchingt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1bdb2fb-6818-4da2-b61e-e8ddb46ba1aa"/>
  <p:tag name="MIO_GUID" val="4bb7343e-9dab-4b0c-ba61-0bc1ead89e55"/>
  <p:tag name="MIO_UPDATE" val="True"/>
  <p:tag name="MIO_VERSION" val="28.12.2020 17:05:51"/>
  <p:tag name="MIO_DBID" val="B8FCB12D-AF03-49EB-9F79-BB019BE99E1E"/>
  <p:tag name="MIO_LASTDOWNLOADED" val="30.12.2020 19:46:47.970"/>
  <p:tag name="MIO_OBJECTNAME" val="Genpact Line"/>
  <p:tag name="MIO_LASTEDITORNAME" val="Debbie Minchingt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de31056-f315-4dad-bae1-246a403d3db0"/>
  <p:tag name="MIO_GUID" val="ed93b2a5-457d-4dde-81cd-956e92f979e5"/>
  <p:tag name="MIO_UPDATE" val="True"/>
  <p:tag name="MIO_VERSION" val="13.12.2020 23:28:07"/>
  <p:tag name="MIO_DBID" val="B8FCB12D-AF03-49EB-9F79-BB019BE99E1E"/>
  <p:tag name="MIO_LASTDOWNLOADED" val="15.12.2020 00:24:22.174"/>
  <p:tag name="MIO_OBJECTNAME" val="arrow (2)"/>
  <p:tag name="MIO_LASTEDITORNAME" val="George DEMO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de31056-f315-4dad-bae1-246a403d3db0"/>
  <p:tag name="MIO_GUID" val="8678a7e6-c2a7-44b7-87e9-6f93600d4a0a"/>
  <p:tag name="MIO_UPDATE" val="True"/>
  <p:tag name="MIO_VERSION" val="13.12.2020 23:28:07"/>
  <p:tag name="MIO_DBID" val="B8FCB12D-AF03-49EB-9F79-BB019BE99E1E"/>
  <p:tag name="MIO_LASTDOWNLOADED" val="15.12.2020 00:24:22.174"/>
  <p:tag name="MIO_OBJECTNAME" val="arrow (2)"/>
  <p:tag name="MIO_LASTEDITORNAME" val="George DEM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110d61c-f9de-474b-877d-ebf2812064db"/>
  <p:tag name="MIO_GUID" val="41f8282f-a246-496b-9859-7f97d75ca17b"/>
  <p:tag name="MIO_UPDATE" val="True"/>
  <p:tag name="MIO_VERSION" val="13.12.2020 23:28:35"/>
  <p:tag name="MIO_DBID" val="B8FCB12D-AF03-49EB-9F79-BB019BE99E1E"/>
  <p:tag name="MIO_LASTDOWNLOADED" val="19.12.2020 01:29:38.454"/>
  <p:tag name="MIO_OBJECTNAME" val="Freeform 25"/>
  <p:tag name="MIO_LASTEDITORNAME" val="George DEMO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110d61c-f9de-474b-877d-ebf2812064db"/>
  <p:tag name="MIO_GUID" val="41f8282f-a246-496b-9859-7f97d75ca17b"/>
  <p:tag name="MIO_UPDATE" val="True"/>
  <p:tag name="MIO_VERSION" val="13.12.2020 23:28:35"/>
  <p:tag name="MIO_DBID" val="B8FCB12D-AF03-49EB-9F79-BB019BE99E1E"/>
  <p:tag name="MIO_LASTDOWNLOADED" val="19.12.2020 01:29:38.454"/>
  <p:tag name="MIO_OBJECTNAME" val="Freeform 25"/>
  <p:tag name="MIO_LASTEDITORNAME" val="George DEMO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110d61c-f9de-474b-877d-ebf2812064db"/>
  <p:tag name="MIO_GUID" val="41f8282f-a246-496b-9859-7f97d75ca17b"/>
  <p:tag name="MIO_UPDATE" val="True"/>
  <p:tag name="MIO_VERSION" val="13.12.2020 23:28:35"/>
  <p:tag name="MIO_DBID" val="B8FCB12D-AF03-49EB-9F79-BB019BE99E1E"/>
  <p:tag name="MIO_LASTDOWNLOADED" val="19.12.2020 01:29:38.454"/>
  <p:tag name="MIO_OBJECTNAME" val="Freeform 25"/>
  <p:tag name="MIO_LASTEDITORNAME" val="George DEMO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110d61c-f9de-474b-877d-ebf2812064db"/>
  <p:tag name="MIO_GUID" val="41f8282f-a246-496b-9859-7f97d75ca17b"/>
  <p:tag name="MIO_UPDATE" val="True"/>
  <p:tag name="MIO_VERSION" val="13.12.2020 23:28:35"/>
  <p:tag name="MIO_DBID" val="B8FCB12D-AF03-49EB-9F79-BB019BE99E1E"/>
  <p:tag name="MIO_LASTDOWNLOADED" val="19.12.2020 01:29:38.454"/>
  <p:tag name="MIO_OBJECTNAME" val="Freeform 25"/>
  <p:tag name="MIO_LASTEDITORNAME" val="George DEM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1bdb2fb-6818-4da2-b61e-e8ddb46ba1aa"/>
  <p:tag name="MIO_GUID" val="4bb7343e-9dab-4b0c-ba61-0bc1ead89e55"/>
  <p:tag name="MIO_UPDATE" val="True"/>
  <p:tag name="MIO_VERSION" val="28.12.2020 17:05:51"/>
  <p:tag name="MIO_DBID" val="B8FCB12D-AF03-49EB-9F79-BB019BE99E1E"/>
  <p:tag name="MIO_LASTDOWNLOADED" val="30.12.2020 19:46:47.970"/>
  <p:tag name="MIO_OBJECTNAME" val="Genpact Line"/>
  <p:tag name="MIO_LASTEDITORNAME" val="Debbie Minchingt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heme/theme1.xml><?xml version="1.0" encoding="utf-8"?>
<a:theme xmlns:a="http://schemas.openxmlformats.org/drawingml/2006/main" name="Genpact">
  <a:themeElements>
    <a:clrScheme name="Custom 2">
      <a:dk1>
        <a:srgbClr val="000000"/>
      </a:dk1>
      <a:lt1>
        <a:srgbClr val="FFFFFF"/>
      </a:lt1>
      <a:dk2>
        <a:srgbClr val="021D44"/>
      </a:dk2>
      <a:lt2>
        <a:srgbClr val="798399"/>
      </a:lt2>
      <a:accent1>
        <a:srgbClr val="00AECF"/>
      </a:accent1>
      <a:accent2>
        <a:srgbClr val="FF555F"/>
      </a:accent2>
      <a:accent3>
        <a:srgbClr val="073262"/>
      </a:accent3>
      <a:accent4>
        <a:srgbClr val="007199"/>
      </a:accent4>
      <a:accent5>
        <a:srgbClr val="894560"/>
      </a:accent5>
      <a:accent6>
        <a:srgbClr val="10548C"/>
      </a:accent6>
      <a:hlink>
        <a:srgbClr val="10548C"/>
      </a:hlink>
      <a:folHlink>
        <a:srgbClr val="894560"/>
      </a:folHlink>
    </a:clrScheme>
    <a:fontScheme name="Genpact theme 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90000" tIns="45720" rIns="91440" bIns="45720" rtlCol="0" anchor="t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.pptx" id="{8947D1FA-D558-4397-9DEC-F51A546E4522}" vid="{5FDE3245-4D5E-4FC7-81BA-CFDB4C0A12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New Genpact Colors_2020">
      <a:dk1>
        <a:srgbClr val="000000"/>
      </a:dk1>
      <a:lt1>
        <a:srgbClr val="FFFFFF"/>
      </a:lt1>
      <a:dk2>
        <a:srgbClr val="7B8399"/>
      </a:dk2>
      <a:lt2>
        <a:srgbClr val="073262"/>
      </a:lt2>
      <a:accent1>
        <a:srgbClr val="FF555F"/>
      </a:accent1>
      <a:accent2>
        <a:srgbClr val="00AECF"/>
      </a:accent2>
      <a:accent3>
        <a:srgbClr val="021D44"/>
      </a:accent3>
      <a:accent4>
        <a:srgbClr val="894560"/>
      </a:accent4>
      <a:accent5>
        <a:srgbClr val="007199"/>
      </a:accent5>
      <a:accent6>
        <a:srgbClr val="10548C"/>
      </a:accent6>
      <a:hlink>
        <a:srgbClr val="00AECF"/>
      </a:hlink>
      <a:folHlink>
        <a:srgbClr val="00AEC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8CDD7C82A8CB479C5B435FB21D95C8" ma:contentTypeVersion="12" ma:contentTypeDescription="Create a new document." ma:contentTypeScope="" ma:versionID="d95613bb6194edd61523d53b2edd19f6">
  <xsd:schema xmlns:xsd="http://www.w3.org/2001/XMLSchema" xmlns:xs="http://www.w3.org/2001/XMLSchema" xmlns:p="http://schemas.microsoft.com/office/2006/metadata/properties" xmlns:ns2="e506c332-cce8-4a84-8131-71ce26cc4975" xmlns:ns3="ca39ae0a-64f0-49af-be94-61575697bb31" targetNamespace="http://schemas.microsoft.com/office/2006/metadata/properties" ma:root="true" ma:fieldsID="6c64281b1408ad450ee9d5824b3d433f" ns2:_="" ns3:_="">
    <xsd:import namespace="e506c332-cce8-4a84-8131-71ce26cc4975"/>
    <xsd:import namespace="ca39ae0a-64f0-49af-be94-61575697bb3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CR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06c332-cce8-4a84-8131-71ce26cc49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39ae0a-64f0-49af-be94-61575697bb3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0CFEB4F-DBC9-4B4A-B1A0-15484E6EE0A2}">
  <ds:schemaRefs>
    <ds:schemaRef ds:uri="ca39ae0a-64f0-49af-be94-61575697bb31"/>
    <ds:schemaRef ds:uri="e506c332-cce8-4a84-8131-71ce26cc497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3B7FDEA-BD5D-472C-8905-FDBBDD7D965A}">
  <ds:schemaRefs>
    <ds:schemaRef ds:uri="ca39ae0a-64f0-49af-be94-61575697bb31"/>
    <ds:schemaRef ds:uri="e506c332-cce8-4a84-8131-71ce26cc497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E653CEB-BF5A-4085-AC15-A00F4501FE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Application>Microsoft Office PowerPoint</Application>
  <PresentationFormat>Widescreen</PresentationFormat>
  <Slides>19</Slides>
  <Notes>8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0" baseType="lpstr">
      <vt:lpstr>Genpact</vt:lpstr>
      <vt:lpstr>CHIME –  POC on  Dispute Management</vt:lpstr>
      <vt:lpstr>PowerPoint Presentation</vt:lpstr>
      <vt:lpstr>Usecases</vt:lpstr>
      <vt:lpstr>Predictive Analytics for Chargebacks </vt:lpstr>
      <vt:lpstr>By identifying patterns and trends in historical cases, we can make informed predictions to determine responsibility for chargebacks. </vt:lpstr>
      <vt:lpstr>Understanding High Rejection Rates</vt:lpstr>
      <vt:lpstr>By employing sentiment analysis, we can examine comments left by customers regarding their disputes to find the most common negative sentiments: </vt:lpstr>
      <vt:lpstr>Historical Trend Analysis</vt:lpstr>
      <vt:lpstr>By analysing the patterns  in history data we are trying to </vt:lpstr>
      <vt:lpstr>The parameters and features we are using to identify the useful insights as well as risk patterns </vt:lpstr>
      <vt:lpstr>Automated Summarization </vt:lpstr>
      <vt:lpstr>By employing Auto Summarization tool, we can reduce the manual processing time by highlighting the key issues.</vt:lpstr>
      <vt:lpstr>Thank you</vt:lpstr>
      <vt:lpstr>Ten tips for better PowerPoint presentations</vt:lpstr>
      <vt:lpstr>User guide – inserting new slides </vt:lpstr>
      <vt:lpstr>Placeholders</vt:lpstr>
      <vt:lpstr>User guide – text styles and bullet lists </vt:lpstr>
      <vt:lpstr>Footers</vt:lpstr>
      <vt:lpstr>User guide – changing an image on cover/divider slid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pact PowerPoint presentations</dc:title>
  <dc:subject/>
  <dc:creator>Georgina Manzi</dc:creator>
  <cp:keywords/>
  <dc:description/>
  <cp:revision>25</cp:revision>
  <dcterms:created xsi:type="dcterms:W3CDTF">2020-12-29T12:22:53Z</dcterms:created>
  <dcterms:modified xsi:type="dcterms:W3CDTF">2024-08-28T14:13:1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78CDD7C82A8CB479C5B435FB21D95C8</vt:lpwstr>
  </property>
</Properties>
</file>